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1"/>
    <p:sldMasterId id="2147483780" r:id="rId2"/>
  </p:sldMasterIdLst>
  <p:notesMasterIdLst>
    <p:notesMasterId r:id="rId12"/>
  </p:notesMasterIdLst>
  <p:sldIdLst>
    <p:sldId id="257" r:id="rId3"/>
    <p:sldId id="301" r:id="rId4"/>
    <p:sldId id="303" r:id="rId5"/>
    <p:sldId id="305" r:id="rId6"/>
    <p:sldId id="317" r:id="rId7"/>
    <p:sldId id="311" r:id="rId8"/>
    <p:sldId id="318" r:id="rId9"/>
    <p:sldId id="2147472845" r:id="rId10"/>
    <p:sldId id="2147472846" r:id="rId1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3" pos="3863" userDrawn="1">
          <p15:clr>
            <a:srgbClr val="A4A3A4"/>
          </p15:clr>
        </p15:guide>
        <p15:guide id="4" pos="710" userDrawn="1">
          <p15:clr>
            <a:srgbClr val="A4A3A4"/>
          </p15:clr>
        </p15:guide>
        <p15:guide id="5" orient="horz" pos="77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митрий Костян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1319"/>
    <a:srgbClr val="06161A"/>
    <a:srgbClr val="1C2124"/>
    <a:srgbClr val="FF0C69"/>
    <a:srgbClr val="252527"/>
    <a:srgbClr val="96F0FB"/>
    <a:srgbClr val="CAE0EB"/>
    <a:srgbClr val="EDF3F6"/>
    <a:srgbClr val="E5F1FF"/>
    <a:srgbClr val="275D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522" autoAdjust="0"/>
    <p:restoredTop sz="85831" autoAdjust="0"/>
  </p:normalViewPr>
  <p:slideViewPr>
    <p:cSldViewPr snapToGrid="0" snapToObjects="1" showGuides="1">
      <p:cViewPr varScale="1">
        <p:scale>
          <a:sx n="177" d="100"/>
          <a:sy n="177" d="100"/>
        </p:scale>
        <p:origin x="1784" y="272"/>
      </p:cViewPr>
      <p:guideLst>
        <p:guide orient="horz" pos="1480"/>
        <p:guide pos="3863"/>
        <p:guide pos="710"/>
        <p:guide orient="horz" pos="7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2C727B-68B7-6148-93A0-F6B6EA8E8875}" type="datetimeFigureOut">
              <a:rPr lang="ru-RU" smtClean="0"/>
              <a:t>09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13F7D6-CB3D-674B-937F-620C52CD61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595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891B6-8FCC-2147-9206-D27B9634DCF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664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891B6-8FCC-2147-9206-D27B9634DC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4525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13F7D6-CB3D-674B-937F-620C52CD618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2029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891B6-8FCC-2147-9206-D27B9634DCF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92379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6891B6-8FCC-2147-9206-D27B9634DCF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73409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E8B698-216F-F136-9BA1-3130B75C3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C478A8D-CAA2-E5D4-4377-BBAAF2393E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BE7C4F0-C5B5-8A17-B96A-AFF95FFA1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2BC9159-8B3E-C89E-F038-A3877827FA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31FF0B-B5E0-944E-8997-5A7E2A65E67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1325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FFD92-B0FF-3803-96BF-08481EBA28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A56C715-D2F1-8A63-0242-4500ED0995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9A6E6132-DBEB-D545-D990-E28FC50B99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0414843-07B5-CE9B-1651-084B77ABCD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60D82-D619-9544-BB3C-A7EB01B824D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18094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053F8-E329-E397-44E6-938918CA0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7822D80-CB18-56E5-4C2F-8F555DC5FA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C36C44D-6D91-5EE7-DCDC-BBB54BCB01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B8B0333-5950-933B-9854-D990244BDD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31FF0B-B5E0-944E-8997-5A7E2A65E67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983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D8CD981-9BDC-174C-870D-72169D64D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5132"/>
          <a:stretch/>
        </p:blipFill>
        <p:spPr>
          <a:xfrm>
            <a:off x="1844843" y="0"/>
            <a:ext cx="10347157" cy="6858000"/>
          </a:xfrm>
          <a:prstGeom prst="rect">
            <a:avLst/>
          </a:prstGeom>
        </p:spPr>
      </p:pic>
      <p:sp>
        <p:nvSpPr>
          <p:cNvPr id="7" name="Текст 34">
            <a:extLst>
              <a:ext uri="{FF2B5EF4-FFF2-40B4-BE49-F238E27FC236}">
                <a16:creationId xmlns:a16="http://schemas.microsoft.com/office/drawing/2014/main" id="{8A270FA7-C498-CB4A-B93B-68BF44D6B3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813" y="3307439"/>
            <a:ext cx="10224000" cy="276999"/>
          </a:xfrm>
          <a:prstGeom prst="rect">
            <a:avLst/>
          </a:prstGeom>
        </p:spPr>
        <p:txBody>
          <a:bodyPr lIns="0" bIns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обавьте подзаголовок — раскройте детали вашей темы</a:t>
            </a:r>
          </a:p>
        </p:txBody>
      </p:sp>
      <p:sp>
        <p:nvSpPr>
          <p:cNvPr id="9" name="Заголовок 7">
            <a:extLst>
              <a:ext uri="{FF2B5EF4-FFF2-40B4-BE49-F238E27FC236}">
                <a16:creationId xmlns:a16="http://schemas.microsoft.com/office/drawing/2014/main" id="{083D9462-612F-9C48-836D-B9594353DA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261" y="1065857"/>
            <a:ext cx="10220325" cy="183499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пишите тему презентации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6713D50-21CA-A345-83EF-83F83AEBB69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8813" y="5643405"/>
            <a:ext cx="2467564" cy="5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02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9417" y="2971952"/>
            <a:ext cx="8193166" cy="9140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563552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43">
            <a:extLst>
              <a:ext uri="{FF2B5EF4-FFF2-40B4-BE49-F238E27FC236}">
                <a16:creationId xmlns:a16="http://schemas.microsoft.com/office/drawing/2014/main" id="{9BE4D7FE-BCEB-8846-AABB-259936AF80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59150" y="692151"/>
            <a:ext cx="8174038" cy="160961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ru-RU" sz="44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dirty="0"/>
              <a:t>Цитата: </a:t>
            </a:r>
            <a:br>
              <a:rPr lang="ru-RU" dirty="0"/>
            </a:br>
            <a:r>
              <a:rPr lang="ru-RU" dirty="0"/>
              <a:t>ключевая мысль</a:t>
            </a:r>
          </a:p>
        </p:txBody>
      </p:sp>
      <p:sp>
        <p:nvSpPr>
          <p:cNvPr id="14" name="Name + Surname">
            <a:extLst>
              <a:ext uri="{FF2B5EF4-FFF2-40B4-BE49-F238E27FC236}">
                <a16:creationId xmlns:a16="http://schemas.microsoft.com/office/drawing/2014/main" id="{7F5F4B3E-5E28-5B42-8D95-CC4B33106A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9150" y="5738829"/>
            <a:ext cx="8200516" cy="4619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40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Имя и фамилия</a:t>
            </a:r>
            <a:endParaRPr lang="en-US" dirty="0"/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652868F7-DC0A-7E43-AB22-D7A2C4D81E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66814" y="2459421"/>
            <a:ext cx="8174038" cy="1609617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lnSpc>
                <a:spcPct val="110000"/>
              </a:lnSpc>
              <a:buNone/>
              <a:defRPr sz="2400" b="0" i="0">
                <a:latin typeface="+mj-lt"/>
              </a:defRPr>
            </a:lvl1pPr>
            <a:lvl2pPr marL="228600" indent="-2286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110000"/>
              </a:lnSpc>
              <a:defRPr sz="1800">
                <a:latin typeface="+mj-lt"/>
              </a:defRPr>
            </a:lvl3pPr>
          </a:lstStyle>
          <a:p>
            <a:pPr lvl="0"/>
            <a:r>
              <a:rPr lang="ru-RU" dirty="0"/>
              <a:t>Опишите кратко идеи, </a:t>
            </a:r>
            <a:br>
              <a:rPr lang="ru-RU" dirty="0"/>
            </a:br>
            <a:r>
              <a:rPr lang="ru-RU" dirty="0"/>
              <a:t>подтверждающие основную мысль слайд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49603D-3461-EE46-98B7-7067B67CBB22}"/>
              </a:ext>
            </a:extLst>
          </p:cNvPr>
          <p:cNvSpPr txBox="1"/>
          <p:nvPr userDrawn="1"/>
        </p:nvSpPr>
        <p:spPr>
          <a:xfrm>
            <a:off x="544512" y="-1049150"/>
            <a:ext cx="2058988" cy="4478149"/>
          </a:xfrm>
          <a:prstGeom prst="rect">
            <a:avLst/>
          </a:prstGeom>
          <a:noFill/>
        </p:spPr>
        <p:txBody>
          <a:bodyPr wrap="square" tIns="0" rtlCol="0" anchor="t">
            <a:spAutoFit/>
          </a:bodyPr>
          <a:lstStyle/>
          <a:p>
            <a:r>
              <a:rPr lang="ru-RU" sz="28800" b="1" i="0" dirty="0">
                <a:solidFill>
                  <a:schemeClr val="accent2"/>
                </a:solidFill>
                <a:latin typeface="VK Sans Display DemiBold" pitchFamily="2" charset="0"/>
              </a:rPr>
              <a:t>«</a:t>
            </a:r>
          </a:p>
        </p:txBody>
      </p:sp>
      <p:sp>
        <p:nvSpPr>
          <p:cNvPr id="17" name="Нижний колонтитул 2">
            <a:extLst>
              <a:ext uri="{FF2B5EF4-FFF2-40B4-BE49-F238E27FC236}">
                <a16:creationId xmlns:a16="http://schemas.microsoft.com/office/drawing/2014/main" id="{D07C4804-0BF7-6940-B206-CA538C7CA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8907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061367"/>
            <a:ext cx="5475287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EAAA1846-DB51-9F71-5DBA-65CE4E39B084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6">
              <a:lumMod val="25000"/>
            </a:schemeClr>
          </a:solidFill>
        </p:grpSpPr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5BD43D21-AF8B-49D9-DBFD-7824F052CB74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BABE542-FC27-6851-D07B-003F396EA847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6472F141-742B-4001-AD41-1F8CFF199C14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8E6F12B1-C315-569D-C0B3-0708779FD822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FB738A3C-761C-B097-98E1-A7E9DDD8B4D6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1D936DD-3D0F-D3A7-71C4-6044ADB18AE6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DCF1DB48-93FD-4C30-E0BA-1C610FCAF9E7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D6A3D5F-585D-54EA-C4C4-931388F3DA76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5CA469-2BF5-5F2D-2C1E-2F659D1859B3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80320DF7-16FB-BB6B-CB55-F79A13C8E78D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B977905C-2899-D1B8-8A08-4DC87667FC63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02D7F3F0-A920-ED71-742B-A762F049F0BD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6D91930-D869-6589-97C5-1D361FF933CD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2F496F64-B4B6-BE2F-E5FA-CCE64964049E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8B32F09-F58E-4B4D-9A85-D44DD862FE8C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A0885AB2-E965-831E-C8DD-141FEF6F527A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1048246-1B39-BF44-D556-D1036A66A5A3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44D76DB-FDF8-5CC8-AECE-0BC0C42AF6F3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7F530F14-20C4-D9C3-1640-4BEBEBE2EF54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8C7D929-CD5C-EA43-D628-2B89F0761C8B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F3C97383-F76A-484F-9507-B6D3474A5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813" y="5643405"/>
            <a:ext cx="2467564" cy="5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14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061367"/>
            <a:ext cx="5475287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EAAA1846-DB51-9F71-5DBA-65CE4E39B084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2">
              <a:alpha val="30000"/>
            </a:schemeClr>
          </a:solidFill>
        </p:grpSpPr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5BD43D21-AF8B-49D9-DBFD-7824F052CB74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BABE542-FC27-6851-D07B-003F396EA847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6472F141-742B-4001-AD41-1F8CFF199C14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8E6F12B1-C315-569D-C0B3-0708779FD822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FB738A3C-761C-B097-98E1-A7E9DDD8B4D6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1D936DD-3D0F-D3A7-71C4-6044ADB18AE6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DCF1DB48-93FD-4C30-E0BA-1C610FCAF9E7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D6A3D5F-585D-54EA-C4C4-931388F3DA76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5CA469-2BF5-5F2D-2C1E-2F659D1859B3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80320DF7-16FB-BB6B-CB55-F79A13C8E78D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B977905C-2899-D1B8-8A08-4DC87667FC63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02D7F3F0-A920-ED71-742B-A762F049F0BD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6D91930-D869-6589-97C5-1D361FF933CD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2F496F64-B4B6-BE2F-E5FA-CCE64964049E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8B32F09-F58E-4B4D-9A85-D44DD862FE8C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A0885AB2-E965-831E-C8DD-141FEF6F527A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1048246-1B39-BF44-D556-D1036A66A5A3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44D76DB-FDF8-5CC8-AECE-0BC0C42AF6F3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7F530F14-20C4-D9C3-1640-4BEBEBE2EF54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8C7D929-CD5C-EA43-D628-2B89F0761C8B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F3C97383-F76A-484F-9507-B6D3474A5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813" y="5643405"/>
            <a:ext cx="2467564" cy="5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60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 Q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43725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14535707-584D-CCEE-EECD-CFD9F4FC5E04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6">
              <a:lumMod val="25000"/>
            </a:schemeClr>
          </a:solidFill>
        </p:grpSpPr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7000D834-F13D-403D-2721-B4BA7EDCD5C9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2E1E82AD-773B-0805-07DC-19C9DA928ADB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4E5FE769-E861-4623-DAED-13DAC0AC2BA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48646398-448B-C5B5-111D-14BFE97FB21E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B67EC12C-1831-DCF0-A2AB-24825454C8E6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164C534F-A2E5-E3A6-1A0B-529D118C364A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B8E9CB0-0A69-84FC-6D1C-11F76A360C27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532C03E0-D961-F2ED-14E5-2F6E0DD0E221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B4E79C19-777C-AF2C-21D4-A56DE7698F08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760A7797-46F8-17DF-5D20-7DC341FA8157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0F852691-9968-8492-E84A-56448893C38D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5FD7C0F9-6C93-1857-C9A1-5A4BD316DC44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EA032AC-1E73-66B4-2D5C-7A6F59DB8168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34DA74E3-C35B-0FC7-7A5F-4E5D74304ADE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65ED901D-9F75-33DA-41D9-F9C744245A84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03E1B1B5-44CC-DA4D-68CE-A7313D1E7109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C3D0A63F-6499-811B-CC58-FA138E62E905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D053CD06-4B89-6A6B-761D-823D80EAFBED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9F36D28-F562-12EE-FB6A-BF4A59E74C37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89A5295A-6C8A-B982-590D-A26E9E5FB200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660870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 Q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43725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14535707-584D-CCEE-EECD-CFD9F4FC5E04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2">
              <a:alpha val="30000"/>
            </a:schemeClr>
          </a:solidFill>
        </p:grpSpPr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7000D834-F13D-403D-2721-B4BA7EDCD5C9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2E1E82AD-773B-0805-07DC-19C9DA928ADB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4E5FE769-E861-4623-DAED-13DAC0AC2BA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48646398-448B-C5B5-111D-14BFE97FB21E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B67EC12C-1831-DCF0-A2AB-24825454C8E6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164C534F-A2E5-E3A6-1A0B-529D118C364A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B8E9CB0-0A69-84FC-6D1C-11F76A360C27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532C03E0-D961-F2ED-14E5-2F6E0DD0E221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B4E79C19-777C-AF2C-21D4-A56DE7698F08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760A7797-46F8-17DF-5D20-7DC341FA8157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0F852691-9968-8492-E84A-56448893C38D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5FD7C0F9-6C93-1857-C9A1-5A4BD316DC44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EA032AC-1E73-66B4-2D5C-7A6F59DB8168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34DA74E3-C35B-0FC7-7A5F-4E5D74304ADE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65ED901D-9F75-33DA-41D9-F9C744245A84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03E1B1B5-44CC-DA4D-68CE-A7313D1E7109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C3D0A63F-6499-811B-CC58-FA138E62E905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D053CD06-4B89-6A6B-761D-823D80EAFBED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9F36D28-F562-12EE-FB6A-BF4A59E74C37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89A5295A-6C8A-B982-590D-A26E9E5FB200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21159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 QR + подпись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37248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D6DC1EA-F789-2A4A-8872-C87E964C8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813" y="5842000"/>
            <a:ext cx="5437187" cy="35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асилий Иванов, должность</a:t>
            </a: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7E080237-29E5-A382-2A27-3BC5BE5A73BE}"/>
              </a:ext>
            </a:extLst>
          </p:cNvPr>
          <p:cNvGrpSpPr/>
          <p:nvPr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6">
              <a:lumMod val="25000"/>
            </a:schemeClr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E2C4C5E-AABE-60BB-87A0-7B840056A0A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097B5DD2-F216-2B28-0A30-5F04D98D1CB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AB97178D-C956-80BA-D9A9-CD97F152B7B3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2FD25D0-E310-2E9C-0AF8-CA77C225A2C3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6C6DB64-BE55-13A2-DE46-03D0FBB4B4A6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602F03F2-5810-DA4B-3105-CB10DD3000D9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CC128C20-2380-1779-E348-4809733E88FE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8DE2C6A-60C8-791E-9BC9-F70C2F97C928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EEE5622-53C8-E026-F0FC-C6A68B72D707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406B3C0-0497-3F99-A583-B5C90BD611C3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E84D7B3C-19BC-3B39-79A3-E5F9F961637F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0BE609ED-A557-C6A5-7BC1-2D587534808E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8733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 QR + подпись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37248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D6DC1EA-F789-2A4A-8872-C87E964C8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813" y="5842000"/>
            <a:ext cx="5437187" cy="355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асилий Иванов, должность</a:t>
            </a: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7E080237-29E5-A382-2A27-3BC5BE5A73BE}"/>
              </a:ext>
            </a:extLst>
          </p:cNvPr>
          <p:cNvGrpSpPr/>
          <p:nvPr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2">
              <a:alpha val="30000"/>
            </a:schemeClr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E2C4C5E-AABE-60BB-87A0-7B840056A0A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097B5DD2-F216-2B28-0A30-5F04D98D1CB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AB97178D-C956-80BA-D9A9-CD97F152B7B3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2FD25D0-E310-2E9C-0AF8-CA77C225A2C3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6C6DB64-BE55-13A2-DE46-03D0FBB4B4A6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602F03F2-5810-DA4B-3105-CB10DD3000D9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CC128C20-2380-1779-E348-4809733E88FE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8DE2C6A-60C8-791E-9BC9-F70C2F97C928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EEE5622-53C8-E026-F0FC-C6A68B72D707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406B3C0-0497-3F99-A583-B5C90BD611C3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E84D7B3C-19BC-3B39-79A3-E5F9F961637F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0BE609ED-A557-C6A5-7BC1-2D587534808E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611041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Финальный с QR + подпись">
  <p:cSld name="2_Финальный с QR + подпись">
    <p:bg>
      <p:bgPr>
        <a:solidFill>
          <a:schemeClr val="dk2"/>
        </a:solidFill>
        <a:effectLst/>
      </p:bgPr>
    </p:bg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77"/>
          <p:cNvSpPr txBox="1">
            <a:spLocks noGrp="1"/>
          </p:cNvSpPr>
          <p:nvPr>
            <p:ph type="title"/>
          </p:nvPr>
        </p:nvSpPr>
        <p:spPr>
          <a:xfrm>
            <a:off x="620714" y="4638987"/>
            <a:ext cx="5475300" cy="9140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200"/>
              <a:buFont typeface="Play"/>
              <a:buNone/>
              <a:defRPr sz="66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1005" name="Google Shape;1005;p77"/>
          <p:cNvSpPr>
            <a:spLocks noGrp="1"/>
          </p:cNvSpPr>
          <p:nvPr>
            <p:ph type="pic" idx="2"/>
          </p:nvPr>
        </p:nvSpPr>
        <p:spPr>
          <a:xfrm>
            <a:off x="658813" y="692150"/>
            <a:ext cx="1289100" cy="1289100"/>
          </a:xfrm>
          <a:prstGeom prst="rect">
            <a:avLst/>
          </a:prstGeom>
          <a:noFill/>
          <a:ln>
            <a:noFill/>
          </a:ln>
        </p:spPr>
      </p:sp>
      <p:sp>
        <p:nvSpPr>
          <p:cNvPr id="1006" name="Google Shape;1006;p77"/>
          <p:cNvSpPr txBox="1">
            <a:spLocks noGrp="1"/>
          </p:cNvSpPr>
          <p:nvPr>
            <p:ph type="body" idx="1"/>
          </p:nvPr>
        </p:nvSpPr>
        <p:spPr>
          <a:xfrm>
            <a:off x="658814" y="5842000"/>
            <a:ext cx="5437200" cy="355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228600" lvl="0" indent="-114300" algn="l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>
                <a:solidFill>
                  <a:schemeClr val="dk1"/>
                </a:solidFill>
              </a:defRPr>
            </a:lvl1pPr>
            <a:lvl2pPr marL="457200" lvl="1" indent="-17145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685800" lvl="2" indent="-17145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914400" lvl="3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143000" lvl="4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371600" lvl="5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600200" lvl="6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828800" lvl="7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057400" lvl="8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grpSp>
        <p:nvGrpSpPr>
          <p:cNvPr id="1007" name="Google Shape;1007;p77"/>
          <p:cNvGrpSpPr/>
          <p:nvPr/>
        </p:nvGrpSpPr>
        <p:grpSpPr>
          <a:xfrm>
            <a:off x="7066566" y="-51"/>
            <a:ext cx="5103334" cy="6858072"/>
            <a:chOff x="13297154" y="-2797570"/>
            <a:chExt cx="2934215" cy="3943120"/>
          </a:xfrm>
        </p:grpSpPr>
        <p:sp>
          <p:nvSpPr>
            <p:cNvPr id="1008" name="Google Shape;1008;p77"/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/>
              <a:ahLst/>
              <a:cxnLst/>
              <a:rect l="l" t="t" r="r" b="b"/>
              <a:pathLst>
                <a:path w="856878" h="985643" extrusionOk="0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9" name="Google Shape;1009;p77"/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/>
              <a:ahLst/>
              <a:cxnLst/>
              <a:rect l="l" t="t" r="r" b="b"/>
              <a:pathLst>
                <a:path w="856878" h="985645" extrusionOk="0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" name="Google Shape;1010;p77"/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/>
              <a:ahLst/>
              <a:cxnLst/>
              <a:rect l="l" t="t" r="r" b="b"/>
              <a:pathLst>
                <a:path w="856878" h="985645" extrusionOk="0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1" name="Google Shape;1011;p77"/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/>
              <a:ahLst/>
              <a:cxnLst/>
              <a:rect l="l" t="t" r="r" b="b"/>
              <a:pathLst>
                <a:path w="856878" h="985645" extrusionOk="0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" name="Google Shape;1012;p77"/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/>
              <a:ahLst/>
              <a:cxnLst/>
              <a:rect l="l" t="t" r="r" b="b"/>
              <a:pathLst>
                <a:path w="856883" h="985643" extrusionOk="0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" name="Google Shape;1013;p77"/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/>
              <a:ahLst/>
              <a:cxnLst/>
              <a:rect l="l" t="t" r="r" b="b"/>
              <a:pathLst>
                <a:path w="856883" h="985642" extrusionOk="0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4" name="Google Shape;1014;p77"/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5" name="Google Shape;1015;p77"/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6" name="Google Shape;1016;p77"/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7" name="Google Shape;1017;p77"/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8" name="Google Shape;1018;p77"/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" name="Google Shape;1019;p77"/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chemeClr val="accent2">
                <a:alpha val="298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271319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 раздела">
  <p:cSld name="6_Титульный слайд раздела">
    <p:bg>
      <p:bgPr>
        <a:solidFill>
          <a:schemeClr val="accent1"/>
        </a:solidFill>
        <a:effectLst/>
      </p:bgPr>
    </p:bg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82"/>
          <p:cNvSpPr txBox="1">
            <a:spLocks noGrp="1"/>
          </p:cNvSpPr>
          <p:nvPr>
            <p:ph type="title"/>
          </p:nvPr>
        </p:nvSpPr>
        <p:spPr>
          <a:xfrm>
            <a:off x="603172" y="1079023"/>
            <a:ext cx="4621350" cy="9140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200"/>
              <a:buFont typeface="Play"/>
              <a:buNone/>
              <a:defRPr sz="6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  <a:endParaRPr/>
          </a:p>
        </p:txBody>
      </p:sp>
      <p:grpSp>
        <p:nvGrpSpPr>
          <p:cNvPr id="1077" name="Google Shape;1077;p82"/>
          <p:cNvGrpSpPr/>
          <p:nvPr/>
        </p:nvGrpSpPr>
        <p:grpSpPr>
          <a:xfrm>
            <a:off x="7066566" y="-51"/>
            <a:ext cx="5103334" cy="6858072"/>
            <a:chOff x="13297154" y="-2797570"/>
            <a:chExt cx="2934215" cy="3943120"/>
          </a:xfrm>
        </p:grpSpPr>
        <p:sp>
          <p:nvSpPr>
            <p:cNvPr id="1078" name="Google Shape;1078;p82"/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/>
              <a:ahLst/>
              <a:cxnLst/>
              <a:rect l="l" t="t" r="r" b="b"/>
              <a:pathLst>
                <a:path w="856878" h="985643" extrusionOk="0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" name="Google Shape;1079;p82"/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/>
              <a:ahLst/>
              <a:cxnLst/>
              <a:rect l="l" t="t" r="r" b="b"/>
              <a:pathLst>
                <a:path w="856878" h="985645" extrusionOk="0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0" name="Google Shape;1080;p82"/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/>
              <a:ahLst/>
              <a:cxnLst/>
              <a:rect l="l" t="t" r="r" b="b"/>
              <a:pathLst>
                <a:path w="856878" h="985645" extrusionOk="0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1" name="Google Shape;1081;p82"/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/>
              <a:ahLst/>
              <a:cxnLst/>
              <a:rect l="l" t="t" r="r" b="b"/>
              <a:pathLst>
                <a:path w="856878" h="985645" extrusionOk="0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2" name="Google Shape;1082;p82"/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/>
              <a:ahLst/>
              <a:cxnLst/>
              <a:rect l="l" t="t" r="r" b="b"/>
              <a:pathLst>
                <a:path w="856883" h="985643" extrusionOk="0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3" name="Google Shape;1083;p82"/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/>
              <a:ahLst/>
              <a:cxnLst/>
              <a:rect l="l" t="t" r="r" b="b"/>
              <a:pathLst>
                <a:path w="856883" h="985642" extrusionOk="0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4" name="Google Shape;1084;p82"/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" name="Google Shape;1085;p82"/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6" name="Google Shape;1086;p82"/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7" name="Google Shape;1087;p82"/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8" name="Google Shape;1088;p82"/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9" name="Google Shape;1089;p82"/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/>
              <a:ahLst/>
              <a:cxnLst/>
              <a:rect l="l" t="t" r="r" b="b"/>
              <a:pathLst>
                <a:path w="856883" h="985645" extrusionOk="0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97778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Содержание">
  <p:cSld name="2_Содержание"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39"/>
          <p:cNvSpPr>
            <a:spLocks noGrp="1"/>
          </p:cNvSpPr>
          <p:nvPr>
            <p:ph type="pic" idx="2"/>
          </p:nvPr>
        </p:nvSpPr>
        <p:spPr>
          <a:xfrm>
            <a:off x="8112126" y="0"/>
            <a:ext cx="4079850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593" name="Google Shape;593;p39"/>
          <p:cNvSpPr txBox="1">
            <a:spLocks noGrp="1"/>
          </p:cNvSpPr>
          <p:nvPr>
            <p:ph type="title"/>
          </p:nvPr>
        </p:nvSpPr>
        <p:spPr>
          <a:xfrm>
            <a:off x="677334" y="692151"/>
            <a:ext cx="5418600" cy="644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Play"/>
              <a:buNone/>
              <a:defRPr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594" name="Google Shape;594;p39"/>
          <p:cNvSpPr txBox="1">
            <a:spLocks noGrp="1"/>
          </p:cNvSpPr>
          <p:nvPr>
            <p:ph type="body" idx="1"/>
          </p:nvPr>
        </p:nvSpPr>
        <p:spPr>
          <a:xfrm>
            <a:off x="671514" y="1773239"/>
            <a:ext cx="5424450" cy="442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228600" lvl="0" indent="-266700" algn="l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lay"/>
              <a:buAutoNum type="arabicPeriod"/>
              <a:defRPr sz="2400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457200" lvl="1" indent="-2032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SzPts val="2800"/>
              <a:buChar char="•"/>
              <a:defRPr>
                <a:solidFill>
                  <a:schemeClr val="dk1"/>
                </a:solidFill>
              </a:defRPr>
            </a:lvl2pPr>
            <a:lvl3pPr marL="685800" lvl="2" indent="-190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−"/>
              <a:defRPr>
                <a:solidFill>
                  <a:schemeClr val="dk1"/>
                </a:solidFill>
              </a:defRPr>
            </a:lvl3pPr>
            <a:lvl4pPr marL="914400" lvl="3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143000" lvl="4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371600" lvl="5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600200" lvl="6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828800" lvl="7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057400" lvl="8" indent="-171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95" name="Google Shape;595;p39"/>
          <p:cNvSpPr txBox="1">
            <a:spLocks noGrp="1"/>
          </p:cNvSpPr>
          <p:nvPr>
            <p:ph type="ftr" idx="11"/>
          </p:nvPr>
        </p:nvSpPr>
        <p:spPr>
          <a:xfrm>
            <a:off x="671513" y="167982"/>
            <a:ext cx="10874400" cy="24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A6A6A6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199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0746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ёмный фо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466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98B0B3"/>
          </p15:clr>
        </p15:guide>
        <p15:guide id="2" pos="7680">
          <p15:clr>
            <a:srgbClr val="98B0B3"/>
          </p15:clr>
        </p15:guide>
        <p15:guide id="3" pos="414">
          <p15:clr>
            <a:srgbClr val="98B0B3"/>
          </p15:clr>
        </p15:guide>
        <p15:guide id="4" pos="902">
          <p15:clr>
            <a:srgbClr val="98B0B3"/>
          </p15:clr>
        </p15:guide>
        <p15:guide id="5" pos="993">
          <p15:clr>
            <a:srgbClr val="98B0B3"/>
          </p15:clr>
        </p15:guide>
        <p15:guide id="6" pos="1481">
          <p15:clr>
            <a:srgbClr val="98B0B3"/>
          </p15:clr>
        </p15:guide>
        <p15:guide id="7" pos="1571">
          <p15:clr>
            <a:srgbClr val="98B0B3"/>
          </p15:clr>
        </p15:guide>
        <p15:guide id="8" pos="2059">
          <p15:clr>
            <a:srgbClr val="98B0B3"/>
          </p15:clr>
        </p15:guide>
        <p15:guide id="9" pos="2150">
          <p15:clr>
            <a:srgbClr val="98B0B3"/>
          </p15:clr>
        </p15:guide>
        <p15:guide id="10" pos="2637">
          <p15:clr>
            <a:srgbClr val="98B0B3"/>
          </p15:clr>
        </p15:guide>
        <p15:guide id="11" pos="2728">
          <p15:clr>
            <a:srgbClr val="98B0B3"/>
          </p15:clr>
        </p15:guide>
        <p15:guide id="12" pos="3216">
          <p15:clr>
            <a:srgbClr val="98B0B3"/>
          </p15:clr>
        </p15:guide>
        <p15:guide id="13" pos="3306">
          <p15:clr>
            <a:srgbClr val="98B0B3"/>
          </p15:clr>
        </p15:guide>
        <p15:guide id="14" pos="3794">
          <p15:clr>
            <a:srgbClr val="98B0B3"/>
          </p15:clr>
        </p15:guide>
        <p15:guide id="15" pos="3885">
          <p15:clr>
            <a:srgbClr val="98B0B3"/>
          </p15:clr>
        </p15:guide>
        <p15:guide id="16" pos="4373">
          <p15:clr>
            <a:srgbClr val="98B0B3"/>
          </p15:clr>
        </p15:guide>
        <p15:guide id="17" pos="4463">
          <p15:clr>
            <a:srgbClr val="98B0B3"/>
          </p15:clr>
        </p15:guide>
        <p15:guide id="18" pos="4951">
          <p15:clr>
            <a:srgbClr val="98B0B3"/>
          </p15:clr>
        </p15:guide>
        <p15:guide id="19" pos="5042">
          <p15:clr>
            <a:srgbClr val="98B0B3"/>
          </p15:clr>
        </p15:guide>
        <p15:guide id="20" pos="5529">
          <p15:clr>
            <a:srgbClr val="98B0B3"/>
          </p15:clr>
        </p15:guide>
        <p15:guide id="21" pos="5620">
          <p15:clr>
            <a:srgbClr val="98B0B3"/>
          </p15:clr>
        </p15:guide>
        <p15:guide id="22" pos="6108">
          <p15:clr>
            <a:srgbClr val="98B0B3"/>
          </p15:clr>
        </p15:guide>
        <p15:guide id="23" pos="6198">
          <p15:clr>
            <a:srgbClr val="98B0B3"/>
          </p15:clr>
        </p15:guide>
        <p15:guide id="24" pos="6686">
          <p15:clr>
            <a:srgbClr val="98B0B3"/>
          </p15:clr>
        </p15:guide>
        <p15:guide id="25" pos="6777">
          <p15:clr>
            <a:srgbClr val="98B0B3"/>
          </p15:clr>
        </p15:guide>
        <p15:guide id="26" pos="7265">
          <p15:clr>
            <a:srgbClr val="98B0B3"/>
          </p15:clr>
        </p15:guide>
        <p15:guide id="27" orient="horz">
          <p15:clr>
            <a:srgbClr val="98B0B3"/>
          </p15:clr>
        </p15:guide>
        <p15:guide id="28" orient="horz" pos="4320">
          <p15:clr>
            <a:srgbClr val="98B0B3"/>
          </p15:clr>
        </p15:guide>
        <p15:guide id="29" orient="horz" pos="414">
          <p15:clr>
            <a:srgbClr val="98B0B3"/>
          </p15:clr>
        </p15:guide>
        <p15:guide id="30" orient="horz" pos="3905">
          <p15:clr>
            <a:srgbClr val="98B0B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0F7ABA-9207-F14B-ABD3-93944D691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2681816" cy="6442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44E5408C-4056-F34C-9874-98FB37FC1B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3363" y="692150"/>
            <a:ext cx="7489825" cy="550862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2400">
                <a:solidFill>
                  <a:schemeClr val="tx1"/>
                </a:solidFill>
                <a:latin typeface="+mj-lt"/>
              </a:defRPr>
            </a:lvl1pPr>
            <a:lvl2pPr marL="846138" indent="-317500">
              <a:tabLst/>
              <a:defRPr>
                <a:solidFill>
                  <a:schemeClr val="tx1"/>
                </a:solidFill>
              </a:defRPr>
            </a:lvl2pPr>
            <a:lvl3pPr marL="1208088" indent="-287338"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/>
              <a:t>Раскройте содержание презентации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3F11BB92-6739-9747-9A25-62A737177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5273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02D26E4A-0B0F-A33D-01D9-CE784741949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12125" y="0"/>
            <a:ext cx="4079875" cy="685800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0F7ABA-9207-F14B-ABD3-93944D691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6442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44E5408C-4056-F34C-9874-98FB37FC1B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1513" y="1773238"/>
            <a:ext cx="5424487" cy="4427537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2400">
                <a:solidFill>
                  <a:schemeClr val="tx1"/>
                </a:solidFill>
                <a:latin typeface="+mj-lt"/>
              </a:defRPr>
            </a:lvl1pPr>
            <a:lvl2pPr marL="846138" indent="-317500">
              <a:tabLst/>
              <a:defRPr>
                <a:solidFill>
                  <a:schemeClr val="tx1"/>
                </a:solidFill>
              </a:defRPr>
            </a:lvl2pPr>
            <a:lvl3pPr marL="1208088" indent="-287338"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/>
              <a:t>Раскройте содержание презентации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3F11BB92-6739-9747-9A25-62A737177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0599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F3C1226-071C-F54E-9AFB-D71CEE530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F3D3D73E-3070-D547-A8E4-656E5B9A0B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731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744C34BA-F094-3041-A38F-24178A945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513" y="1773238"/>
            <a:ext cx="10861675" cy="446404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2F4419-792A-8B49-AAC6-9EEE75A63D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55738041-44B9-C64F-82DF-90E7BDAF6E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3317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468BC43-A0EA-2640-92C8-A83C3C0DB36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58813" y="1773238"/>
            <a:ext cx="10874375" cy="4447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C137E7F-40AD-5149-98E4-38551143E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C18D3D36-B394-FA4D-A40B-0FEB3D5AF7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6447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2 строки +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93BEACB4-8163-3E40-BF64-24FF99F4889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11901" y="692150"/>
            <a:ext cx="5208586" cy="55451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61399616-6E49-8E44-8C89-A3666C96B1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3" y="2040889"/>
            <a:ext cx="5424487" cy="41598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3AF0A0D2-84CC-344E-B015-430C5FC9DA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9A971A-57C4-6343-8BDB-405151F30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1832780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2">
            <a:extLst>
              <a:ext uri="{FF2B5EF4-FFF2-40B4-BE49-F238E27FC236}">
                <a16:creationId xmlns:a16="http://schemas.microsoft.com/office/drawing/2014/main" id="{A9426BBD-A776-444D-B36C-4238DF4DCB3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77334" y="1773238"/>
            <a:ext cx="5317065" cy="4427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CB2A238B-52D5-314D-828E-2A8FE49A990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197604" y="1773238"/>
            <a:ext cx="5317062" cy="4427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B14F15-239B-C248-A014-C6BD3EB2E9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0" name="Нижний колонтитул 2">
            <a:extLst>
              <a:ext uri="{FF2B5EF4-FFF2-40B4-BE49-F238E27FC236}">
                <a16:creationId xmlns:a16="http://schemas.microsoft.com/office/drawing/2014/main" id="{9B37AD88-5570-DA46-8C1C-B8ED3572A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5714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2">
            <a:extLst>
              <a:ext uri="{FF2B5EF4-FFF2-40B4-BE49-F238E27FC236}">
                <a16:creationId xmlns:a16="http://schemas.microsoft.com/office/drawing/2014/main" id="{2122BA3E-4A40-5E4B-BD71-5F8C8E5AA3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0" y="692151"/>
            <a:ext cx="5437188" cy="5508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23DAE1-F094-1A41-AC85-CC27A7847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165527" cy="64424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3FF5B35A-DAF3-3E4F-A984-4FE261073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0152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FC759CC-1CE0-0ECB-636A-38777513651B}"/>
              </a:ext>
            </a:extLst>
          </p:cNvPr>
          <p:cNvGrpSpPr/>
          <p:nvPr userDrawn="1"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6">
              <a:lumMod val="25000"/>
            </a:schemeClr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D17D0AE3-958C-123B-A53F-7A6B906FB52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F0734BE0-81FD-8C4B-0101-37744273758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25C015D-07E9-6E0E-424E-8A6EC657052B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0BB360F9-EB72-8467-9F42-AA0DDC5E06B9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779A6DCE-7A59-8A3F-08BB-977B01AE7AD4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647A1106-8386-ED87-884F-0E9354468C66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BDF03F3E-E2F6-4655-E0EF-610A0072FAAD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1BC053A9-C450-AD66-4705-2AF55E068E0F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6E0A2298-A2C1-9939-4A29-752A155C0261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D186331-0182-91B0-5F6F-4AA869F17769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500098B1-BC5A-4B0D-0403-3623AC36751A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709825CD-E651-0DE1-D1D4-73D0BA47A38B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11530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">
            <a:extLst>
              <a:ext uri="{FF2B5EF4-FFF2-40B4-BE49-F238E27FC236}">
                <a16:creationId xmlns:a16="http://schemas.microsoft.com/office/drawing/2014/main" id="{CE65941D-C389-5B4D-A763-47A56D7D50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334" y="1773238"/>
            <a:ext cx="5304365" cy="4427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2122BA3E-4A40-5E4B-BD71-5F8C8E5AA3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8824" y="1773239"/>
            <a:ext cx="5304364" cy="4427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23DAE1-F094-1A41-AC85-CC27A7847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3FF5B35A-DAF3-3E4F-A984-4FE261073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6588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актои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7D528D5E-3BE6-8334-3246-988128C558BE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tx2"/>
          </a:solidFill>
        </p:grpSpPr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6FE0ED83-FF49-42BF-ED94-843F6531B12E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1025B1CF-02BE-3F32-2389-A89AA12FA076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38409062-21BC-2632-4C07-D10806544C3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30807175-A027-A3BE-0DD7-DFD604AE9EC6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7070CEFA-320B-6CC0-D0BD-1052AE615E7E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DE9AE618-0CF0-8CA8-2AF0-B274DC7466C7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CABFB45E-FF7A-42F6-94A2-6D8FE53C4268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DCE8A6B2-B4AE-6D2F-8FF7-9AA9FE2E72DD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C351D055-6FB2-85E0-A61D-3636EDA96D29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0D5F65EA-35A2-B99E-1980-2A71DE8EBC77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79537CE2-04DE-EA8F-C38D-5629A63BFC89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649715DF-B6FC-E811-F8B1-86471E68D8EC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76115344-8B09-B6A9-6FA0-E54242E23C37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285BDF54-418D-599A-114D-4CA8B8AA3960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B8E150A3-E9BE-CB1D-90A5-458408F27FCD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9FE6B2D3-BCC3-BE9C-07FD-4F17651861C5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577F7EB3-4BA2-C78B-7C8A-BA546B51BB69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3BB4A21A-19FD-D53C-C952-C1E96F096EC2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11B67161-9F7B-C40B-5283-948906C62C26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5B95E61C-8146-F54C-8830-8A6E0089DE72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2" name="Текст 8">
            <a:extLst>
              <a:ext uri="{FF2B5EF4-FFF2-40B4-BE49-F238E27FC236}">
                <a16:creationId xmlns:a16="http://schemas.microsoft.com/office/drawing/2014/main" id="{138EA146-EFC4-BC46-B652-2B6E60138A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813" y="4363180"/>
            <a:ext cx="10224000" cy="5252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24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ACBEC698-5D83-A94F-A145-EFF18FED9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E106DC70-DE67-F141-BF3F-4BA1D1F1C1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1773238"/>
            <a:ext cx="10223999" cy="24070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700" b="1" i="0">
                <a:solidFill>
                  <a:schemeClr val="tx1"/>
                </a:solidFill>
                <a:latin typeface="VK Sans Display DemiBold" pitchFamily="2" charset="0"/>
              </a:defRPr>
            </a:lvl1pPr>
            <a:lvl2pPr>
              <a:defRPr sz="18000">
                <a:latin typeface="TT Commons" pitchFamily="2" charset="-52"/>
              </a:defRPr>
            </a:lvl2pPr>
            <a:lvl3pPr>
              <a:defRPr sz="18000">
                <a:latin typeface="TT Commons" pitchFamily="2" charset="-52"/>
              </a:defRPr>
            </a:lvl3pPr>
            <a:lvl4pPr>
              <a:defRPr sz="18000">
                <a:latin typeface="TT Commons" pitchFamily="2" charset="-52"/>
              </a:defRPr>
            </a:lvl4pPr>
            <a:lvl5pPr>
              <a:defRPr sz="18000">
                <a:latin typeface="TT Commons" pitchFamily="2" charset="-52"/>
              </a:defRPr>
            </a:lvl5pPr>
          </a:lstStyle>
          <a:p>
            <a:pPr lvl="0"/>
            <a:r>
              <a:rPr lang="ru-RU" dirty="0"/>
              <a:t>70 МЛН</a:t>
            </a:r>
          </a:p>
        </p:txBody>
      </p:sp>
    </p:spTree>
    <p:extLst>
      <p:ext uri="{BB962C8B-B14F-4D97-AF65-F5344CB8AC3E}">
        <p14:creationId xmlns:p14="http://schemas.microsoft.com/office/powerpoint/2010/main" val="4117345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фактои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B944C61-111D-4A5C-A99C-DC3F4AB6485C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tx2"/>
          </a:solidFill>
        </p:grpSpPr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0B067637-9874-1FA1-4501-61A76F355ECE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E1D243BD-2069-7ED3-B8A5-F7A84EEB1700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7506A11F-C5CC-8DDC-6226-744E6E60BA92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033D9057-2F57-64B7-15DD-9666E597DB67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6D3921C3-7297-8DCF-0C3E-0DCB67D959BD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D8490FBE-966F-46B9-1599-CF793AD91701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F4831897-0D13-E217-7659-2B7CE808BEB2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F0759491-F98B-C448-3521-5C355735A0AA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5A9B28C5-8B09-D2AB-06A5-66B7C9A47A96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F7219B22-52FB-CF1F-F679-7BFF82654205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03821265-B762-6815-826E-FD9EFAB99391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E249282-5C8A-0C4E-EC84-0A22659E0301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D1E80D39-CB68-74B9-D47A-5F005A9751DA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25EE579C-CC55-DBCF-616C-185CB6D5F1D2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3FCA1AE8-F127-5A43-4CF1-D0DE90F78B83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8D94D3D2-F2D7-B183-223C-F40344AEF72F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24750039-8975-D385-3756-3958A017A17D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C0C0C657-D45F-159C-97D9-94BC1DC1667C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365A4A85-31AC-876C-1F08-17CE8FA3A3AB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948B54E4-B652-B875-B41E-C687159F521E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" name="Текст 3">
            <a:extLst>
              <a:ext uri="{FF2B5EF4-FFF2-40B4-BE49-F238E27FC236}">
                <a16:creationId xmlns:a16="http://schemas.microsoft.com/office/drawing/2014/main" id="{F7EAD2F7-5211-8640-B7E3-216463581D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853" y="3878709"/>
            <a:ext cx="8131144" cy="1767119"/>
          </a:xfrm>
          <a:prstGeom prst="rect">
            <a:avLst/>
          </a:prstGeom>
        </p:spPr>
        <p:txBody>
          <a:bodyPr lIns="0" t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15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8" name="Текст 34">
            <a:extLst>
              <a:ext uri="{FF2B5EF4-FFF2-40B4-BE49-F238E27FC236}">
                <a16:creationId xmlns:a16="http://schemas.microsoft.com/office/drawing/2014/main" id="{275431F4-A8EB-C14C-8D63-F3CF1DEBF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2852" y="5715426"/>
            <a:ext cx="8131144" cy="4853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24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7E3A65D9-9480-5442-AA8E-A0C6FD91245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1514" y="1045518"/>
            <a:ext cx="8131144" cy="1767119"/>
          </a:xfrm>
          <a:prstGeom prst="rect">
            <a:avLst/>
          </a:prstGeom>
        </p:spPr>
        <p:txBody>
          <a:bodyPr lIns="0" t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15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Текст 34">
            <a:extLst>
              <a:ext uri="{FF2B5EF4-FFF2-40B4-BE49-F238E27FC236}">
                <a16:creationId xmlns:a16="http://schemas.microsoft.com/office/drawing/2014/main" id="{50A7AAC4-BD42-4F48-B29C-562325155CB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1513" y="2882235"/>
            <a:ext cx="8131144" cy="4853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24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0" name="Нижний колонтитул 2">
            <a:extLst>
              <a:ext uri="{FF2B5EF4-FFF2-40B4-BE49-F238E27FC236}">
                <a16:creationId xmlns:a16="http://schemas.microsoft.com/office/drawing/2014/main" id="{9FD49CA2-9CEC-FD4D-A162-B7A2D2E270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6247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фактоид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>
            <a:extLst>
              <a:ext uri="{FF2B5EF4-FFF2-40B4-BE49-F238E27FC236}">
                <a16:creationId xmlns:a16="http://schemas.microsoft.com/office/drawing/2014/main" id="{598F9B43-B4FF-604A-856B-6F166A2798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1773238"/>
            <a:ext cx="5135728" cy="4427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99FF0FDE-D0C3-104B-96FD-AC1E14EC8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10855854" cy="64424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5" name="Нижний колонтитул 2">
            <a:extLst>
              <a:ext uri="{FF2B5EF4-FFF2-40B4-BE49-F238E27FC236}">
                <a16:creationId xmlns:a16="http://schemas.microsoft.com/office/drawing/2014/main" id="{01A28A39-3502-FF4D-9D08-FCEB0174D4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75179072-2D34-6C4A-8FD4-F04D3A0FA4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7339" y="3864033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Текст 34">
            <a:extLst>
              <a:ext uri="{FF2B5EF4-FFF2-40B4-BE49-F238E27FC236}">
                <a16:creationId xmlns:a16="http://schemas.microsoft.com/office/drawing/2014/main" id="{0BEFE399-95CA-7444-879C-F39DA5B8DF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7338" y="5058095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0" name="Текст 3">
            <a:extLst>
              <a:ext uri="{FF2B5EF4-FFF2-40B4-BE49-F238E27FC236}">
                <a16:creationId xmlns:a16="http://schemas.microsoft.com/office/drawing/2014/main" id="{069E1489-AF9B-9B41-852A-0C747395A03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0" y="1773238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55FDFEC3-4201-6A48-A41E-50C16F5CBF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0" y="2967300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5678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актои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ижний колонтитул 2">
            <a:extLst>
              <a:ext uri="{FF2B5EF4-FFF2-40B4-BE49-F238E27FC236}">
                <a16:creationId xmlns:a16="http://schemas.microsoft.com/office/drawing/2014/main" id="{CC560E50-F65F-D34C-9DA2-1AF7DACA0B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9DE78278-6FD7-A541-8836-A712566C45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7339" y="3864033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34">
            <a:extLst>
              <a:ext uri="{FF2B5EF4-FFF2-40B4-BE49-F238E27FC236}">
                <a16:creationId xmlns:a16="http://schemas.microsoft.com/office/drawing/2014/main" id="{A8CA0E34-8A10-A842-B668-29DECF37D3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7338" y="5058095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E51FE869-5CD3-2643-B61B-81412402B7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0" y="1773238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34">
            <a:extLst>
              <a:ext uri="{FF2B5EF4-FFF2-40B4-BE49-F238E27FC236}">
                <a16:creationId xmlns:a16="http://schemas.microsoft.com/office/drawing/2014/main" id="{41B6C28E-C27C-E540-9FC3-68797F0F37B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0" y="2967300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99C1330-4D5D-1C47-ACEE-9517C4FCB7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0012" y="3864033"/>
            <a:ext cx="5239525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308124FC-6D74-4744-83CB-B1D802B3344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0011" y="5058095"/>
            <a:ext cx="5239525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id="{FF81206D-5CD2-F94C-910E-935B5F260B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673" y="1773238"/>
            <a:ext cx="5239525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4" name="Текст 34">
            <a:extLst>
              <a:ext uri="{FF2B5EF4-FFF2-40B4-BE49-F238E27FC236}">
                <a16:creationId xmlns:a16="http://schemas.microsoft.com/office/drawing/2014/main" id="{D269ED19-FCBA-C046-93F1-0E630222B8F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673" y="2967300"/>
            <a:ext cx="5239525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3513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актоид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4">
            <a:extLst>
              <a:ext uri="{FF2B5EF4-FFF2-40B4-BE49-F238E27FC236}">
                <a16:creationId xmlns:a16="http://schemas.microsoft.com/office/drawing/2014/main" id="{66C8302A-BF65-0F4D-9B62-9520B49215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5018" y="617220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18" name="Текст 34">
            <a:extLst>
              <a:ext uri="{FF2B5EF4-FFF2-40B4-BE49-F238E27FC236}">
                <a16:creationId xmlns:a16="http://schemas.microsoft.com/office/drawing/2014/main" id="{87F1DCF1-F07D-CA41-9067-50A97E91C1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5017" y="1620441"/>
            <a:ext cx="2779200" cy="4985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id="{4457AEB8-8272-6341-9E94-51663A50DD0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45018" y="2680786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417%</a:t>
            </a:r>
          </a:p>
        </p:txBody>
      </p:sp>
      <p:sp>
        <p:nvSpPr>
          <p:cNvPr id="20" name="Текст 34">
            <a:extLst>
              <a:ext uri="{FF2B5EF4-FFF2-40B4-BE49-F238E27FC236}">
                <a16:creationId xmlns:a16="http://schemas.microsoft.com/office/drawing/2014/main" id="{E1BAAD02-4AA3-904C-8576-4CD382C405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5017" y="3684008"/>
            <a:ext cx="2779200" cy="498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CF677041-6CDF-624E-A657-517EB8DEAD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24464" y="617220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898%</a:t>
            </a:r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14B49514-DF4C-E24E-92C6-03A177997E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24463" y="1620442"/>
            <a:ext cx="2779200" cy="498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3" name="Текст 4">
            <a:extLst>
              <a:ext uri="{FF2B5EF4-FFF2-40B4-BE49-F238E27FC236}">
                <a16:creationId xmlns:a16="http://schemas.microsoft.com/office/drawing/2014/main" id="{257586B4-BDF0-2347-9674-C4578BF712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24465" y="2680786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698%</a:t>
            </a:r>
          </a:p>
        </p:txBody>
      </p:sp>
      <p:sp>
        <p:nvSpPr>
          <p:cNvPr id="24" name="Текст 34">
            <a:extLst>
              <a:ext uri="{FF2B5EF4-FFF2-40B4-BE49-F238E27FC236}">
                <a16:creationId xmlns:a16="http://schemas.microsoft.com/office/drawing/2014/main" id="{E25C2558-241E-2C49-9CEF-5C16B7CEF7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24463" y="3684008"/>
            <a:ext cx="2779200" cy="498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2" name="Текст 34">
            <a:extLst>
              <a:ext uri="{FF2B5EF4-FFF2-40B4-BE49-F238E27FC236}">
                <a16:creationId xmlns:a16="http://schemas.microsoft.com/office/drawing/2014/main" id="{A49FD218-5350-2B4E-86CE-B6A63EEF2D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8348" y="2495796"/>
            <a:ext cx="3384000" cy="1110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</a:p>
        </p:txBody>
      </p:sp>
      <p:sp>
        <p:nvSpPr>
          <p:cNvPr id="14" name="Нижний колонтитул 2">
            <a:extLst>
              <a:ext uri="{FF2B5EF4-FFF2-40B4-BE49-F238E27FC236}">
                <a16:creationId xmlns:a16="http://schemas.microsoft.com/office/drawing/2014/main" id="{A22F06EC-4FA5-3A40-AFD1-16BC39319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22F6104A-53A0-B043-9BB6-35D53B38E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3366029" cy="160187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42810753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актои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4">
            <a:extLst>
              <a:ext uri="{FF2B5EF4-FFF2-40B4-BE49-F238E27FC236}">
                <a16:creationId xmlns:a16="http://schemas.microsoft.com/office/drawing/2014/main" id="{00831EC7-EA82-FD41-A9E0-A22A0E0153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5020" y="617220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26" name="Текст 34">
            <a:extLst>
              <a:ext uri="{FF2B5EF4-FFF2-40B4-BE49-F238E27FC236}">
                <a16:creationId xmlns:a16="http://schemas.microsoft.com/office/drawing/2014/main" id="{E705B6C0-4359-034E-80DE-E3A2B83720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5020" y="145276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CCBD9900-17CC-E646-B050-F04823142E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75766" y="617220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96%</a:t>
            </a:r>
          </a:p>
        </p:txBody>
      </p:sp>
      <p:sp>
        <p:nvSpPr>
          <p:cNvPr id="28" name="Текст 34">
            <a:extLst>
              <a:ext uri="{FF2B5EF4-FFF2-40B4-BE49-F238E27FC236}">
                <a16:creationId xmlns:a16="http://schemas.microsoft.com/office/drawing/2014/main" id="{B4E7C76A-A9B0-7143-96AA-177476A1F3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5766" y="145276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id="{B4C54B2F-AB0D-B04C-8C8A-757F8656AB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5020" y="2293322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1%</a:t>
            </a:r>
          </a:p>
        </p:txBody>
      </p:sp>
      <p:sp>
        <p:nvSpPr>
          <p:cNvPr id="30" name="Текст 34">
            <a:extLst>
              <a:ext uri="{FF2B5EF4-FFF2-40B4-BE49-F238E27FC236}">
                <a16:creationId xmlns:a16="http://schemas.microsoft.com/office/drawing/2014/main" id="{2BC3E87B-2691-A24F-A916-280AD4B103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45020" y="3128871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1" name="Текст 4">
            <a:extLst>
              <a:ext uri="{FF2B5EF4-FFF2-40B4-BE49-F238E27FC236}">
                <a16:creationId xmlns:a16="http://schemas.microsoft.com/office/drawing/2014/main" id="{B3CA084A-762B-9B46-8B94-1927D613E63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766" y="2293322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19%</a:t>
            </a:r>
          </a:p>
        </p:txBody>
      </p:sp>
      <p:sp>
        <p:nvSpPr>
          <p:cNvPr id="32" name="Текст 34">
            <a:extLst>
              <a:ext uri="{FF2B5EF4-FFF2-40B4-BE49-F238E27FC236}">
                <a16:creationId xmlns:a16="http://schemas.microsoft.com/office/drawing/2014/main" id="{B18B253A-C2DB-2349-909E-9DB4EE5513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766" y="3128872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DAADEFB6-10C9-1847-9389-F07457C019C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45020" y="3971489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412%</a:t>
            </a:r>
          </a:p>
        </p:txBody>
      </p:sp>
      <p:sp>
        <p:nvSpPr>
          <p:cNvPr id="34" name="Текст 34">
            <a:extLst>
              <a:ext uri="{FF2B5EF4-FFF2-40B4-BE49-F238E27FC236}">
                <a16:creationId xmlns:a16="http://schemas.microsoft.com/office/drawing/2014/main" id="{0CDAD404-030A-934A-8851-B3C6383A0BE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45020" y="480703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5" name="Текст 4">
            <a:extLst>
              <a:ext uri="{FF2B5EF4-FFF2-40B4-BE49-F238E27FC236}">
                <a16:creationId xmlns:a16="http://schemas.microsoft.com/office/drawing/2014/main" id="{A223E09C-B85C-654E-95F0-69EDC2B290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75766" y="3971489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35%</a:t>
            </a:r>
          </a:p>
        </p:txBody>
      </p:sp>
      <p:sp>
        <p:nvSpPr>
          <p:cNvPr id="36" name="Текст 34">
            <a:extLst>
              <a:ext uri="{FF2B5EF4-FFF2-40B4-BE49-F238E27FC236}">
                <a16:creationId xmlns:a16="http://schemas.microsoft.com/office/drawing/2014/main" id="{95021F1D-C872-E641-951C-AEABDAD5D3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75766" y="480703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6" name="Текст 34">
            <a:extLst>
              <a:ext uri="{FF2B5EF4-FFF2-40B4-BE49-F238E27FC236}">
                <a16:creationId xmlns:a16="http://schemas.microsoft.com/office/drawing/2014/main" id="{04E00712-D90A-3A4F-82CA-46794E17AF9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13" y="2496201"/>
            <a:ext cx="3384000" cy="1110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D9DB7F6-938F-9749-B6D5-9F240B61A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3366029" cy="1601172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21" name="Нижний колонтитул 2">
            <a:extLst>
              <a:ext uri="{FF2B5EF4-FFF2-40B4-BE49-F238E27FC236}">
                <a16:creationId xmlns:a16="http://schemas.microsoft.com/office/drawing/2014/main" id="{3B5EDCCD-9349-5E42-89F0-F5A1AE5D12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3957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фактои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Текст 4">
            <a:extLst>
              <a:ext uri="{FF2B5EF4-FFF2-40B4-BE49-F238E27FC236}">
                <a16:creationId xmlns:a16="http://schemas.microsoft.com/office/drawing/2014/main" id="{F7C4007B-40AC-1540-83F9-30A6118277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2973" y="621775"/>
            <a:ext cx="1764000" cy="806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C27B8AE7-54C9-234E-BAE9-0EFF0EC468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2973" y="143976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1D622398-9BDF-CE47-A04B-4DB3D5B350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95993" y="621775"/>
            <a:ext cx="1764000" cy="806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13D9284D-37D3-C648-9A7F-042D63906E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95993" y="143976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3EC23FA8-1F2B-BE43-A0CD-F5F53EDB40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338" y="621775"/>
            <a:ext cx="1764000" cy="806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25" name="Текст 34">
            <a:extLst>
              <a:ext uri="{FF2B5EF4-FFF2-40B4-BE49-F238E27FC236}">
                <a16:creationId xmlns:a16="http://schemas.microsoft.com/office/drawing/2014/main" id="{0F95475C-D35E-2E43-8C4D-C152B9F39B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45338" y="143976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8" name="Текст 4">
            <a:extLst>
              <a:ext uri="{FF2B5EF4-FFF2-40B4-BE49-F238E27FC236}">
                <a16:creationId xmlns:a16="http://schemas.microsoft.com/office/drawing/2014/main" id="{526E1EC0-5595-DE45-B19D-FD4A0774E9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973" y="2524164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39" name="Текст 34">
            <a:extLst>
              <a:ext uri="{FF2B5EF4-FFF2-40B4-BE49-F238E27FC236}">
                <a16:creationId xmlns:a16="http://schemas.microsoft.com/office/drawing/2014/main" id="{24FA1F76-56BB-524E-8B52-CB0542379B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42973" y="333580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0" name="Текст 4">
            <a:extLst>
              <a:ext uri="{FF2B5EF4-FFF2-40B4-BE49-F238E27FC236}">
                <a16:creationId xmlns:a16="http://schemas.microsoft.com/office/drawing/2014/main" id="{47B63853-5B25-9745-9967-BF249BF6A8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99668" y="2524164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1" name="Текст 34">
            <a:extLst>
              <a:ext uri="{FF2B5EF4-FFF2-40B4-BE49-F238E27FC236}">
                <a16:creationId xmlns:a16="http://schemas.microsoft.com/office/drawing/2014/main" id="{E07865DA-C45F-424D-9846-0143E1BDAA7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99668" y="333580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2" name="Текст 4">
            <a:extLst>
              <a:ext uri="{FF2B5EF4-FFF2-40B4-BE49-F238E27FC236}">
                <a16:creationId xmlns:a16="http://schemas.microsoft.com/office/drawing/2014/main" id="{FC8E81BF-5327-5E4A-A8E7-E0A8B6C1FE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52688" y="2524164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3" name="Текст 34">
            <a:extLst>
              <a:ext uri="{FF2B5EF4-FFF2-40B4-BE49-F238E27FC236}">
                <a16:creationId xmlns:a16="http://schemas.microsoft.com/office/drawing/2014/main" id="{BF75EB22-B195-874B-87C8-6277CE8CC1C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52688" y="333580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5D302B44-7A78-414C-931E-D858FFF88C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42973" y="4348797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5" name="Текст 34">
            <a:extLst>
              <a:ext uri="{FF2B5EF4-FFF2-40B4-BE49-F238E27FC236}">
                <a16:creationId xmlns:a16="http://schemas.microsoft.com/office/drawing/2014/main" id="{D70533C3-E41E-4646-B1C6-CCAEC1E5DA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42973" y="5157265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6" name="Текст 4">
            <a:extLst>
              <a:ext uri="{FF2B5EF4-FFF2-40B4-BE49-F238E27FC236}">
                <a16:creationId xmlns:a16="http://schemas.microsoft.com/office/drawing/2014/main" id="{FF9CB53E-DCF1-3043-B0BF-067932E126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95993" y="4348797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7" name="Текст 34">
            <a:extLst>
              <a:ext uri="{FF2B5EF4-FFF2-40B4-BE49-F238E27FC236}">
                <a16:creationId xmlns:a16="http://schemas.microsoft.com/office/drawing/2014/main" id="{F3B3C7F7-CD50-0345-B335-68D8AC6A3A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95993" y="5157265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8" name="Текст 4">
            <a:extLst>
              <a:ext uri="{FF2B5EF4-FFF2-40B4-BE49-F238E27FC236}">
                <a16:creationId xmlns:a16="http://schemas.microsoft.com/office/drawing/2014/main" id="{3E773229-A9A5-984A-AF65-8228095701D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45338" y="4348797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9" name="Текст 34">
            <a:extLst>
              <a:ext uri="{FF2B5EF4-FFF2-40B4-BE49-F238E27FC236}">
                <a16:creationId xmlns:a16="http://schemas.microsoft.com/office/drawing/2014/main" id="{5761D7E3-E47A-D84E-8EC2-47EB98A99FF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45338" y="5157265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9" name="Текст 34">
            <a:extLst>
              <a:ext uri="{FF2B5EF4-FFF2-40B4-BE49-F238E27FC236}">
                <a16:creationId xmlns:a16="http://schemas.microsoft.com/office/drawing/2014/main" id="{FADED89C-B30C-474F-9963-33B2361726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71513" y="2487267"/>
            <a:ext cx="3384000" cy="1110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719B10F6-AC59-6D43-AFFA-CBDD12D09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3366029" cy="1601172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30" name="Нижний колонтитул 2">
            <a:extLst>
              <a:ext uri="{FF2B5EF4-FFF2-40B4-BE49-F238E27FC236}">
                <a16:creationId xmlns:a16="http://schemas.microsoft.com/office/drawing/2014/main" id="{6004F66E-69A1-984B-B186-DF7D3DB86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7018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актои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Текст 4">
            <a:extLst>
              <a:ext uri="{FF2B5EF4-FFF2-40B4-BE49-F238E27FC236}">
                <a16:creationId xmlns:a16="http://schemas.microsoft.com/office/drawing/2014/main" id="{8CDA6E9D-D9FE-6440-B66F-B9CA59326A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1513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29" name="Текст 34">
            <a:extLst>
              <a:ext uri="{FF2B5EF4-FFF2-40B4-BE49-F238E27FC236}">
                <a16:creationId xmlns:a16="http://schemas.microsoft.com/office/drawing/2014/main" id="{FE29BD04-EB1C-FA40-94AA-1B4AFCEB28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6E75009D-A8F7-1C44-A515-609AE4B2D62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33450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898%</a:t>
            </a:r>
          </a:p>
        </p:txBody>
      </p:sp>
      <p:sp>
        <p:nvSpPr>
          <p:cNvPr id="31" name="Текст 34">
            <a:extLst>
              <a:ext uri="{FF2B5EF4-FFF2-40B4-BE49-F238E27FC236}">
                <a16:creationId xmlns:a16="http://schemas.microsoft.com/office/drawing/2014/main" id="{21D10D7E-E911-4C44-9BCF-3E4A0D5A61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33450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DF029F45-879C-FF4A-8017-AE7377D48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95388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1431%</a:t>
            </a:r>
          </a:p>
        </p:txBody>
      </p:sp>
      <p:sp>
        <p:nvSpPr>
          <p:cNvPr id="33" name="Текст 34">
            <a:extLst>
              <a:ext uri="{FF2B5EF4-FFF2-40B4-BE49-F238E27FC236}">
                <a16:creationId xmlns:a16="http://schemas.microsoft.com/office/drawing/2014/main" id="{DB228E60-38E7-654A-84CC-EBFEF83E1D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95388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36F11711-DBC8-2247-9A38-4F5A190AB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57326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479%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:a16="http://schemas.microsoft.com/office/drawing/2014/main" id="{16FD6355-F454-2F4D-8268-578D2E7F8C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57326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6" name="Текст 4">
            <a:extLst>
              <a:ext uri="{FF2B5EF4-FFF2-40B4-BE49-F238E27FC236}">
                <a16:creationId xmlns:a16="http://schemas.microsoft.com/office/drawing/2014/main" id="{8970462A-D5A2-9C42-B351-A822FC8BA1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1513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37" name="Текст 34">
            <a:extLst>
              <a:ext uri="{FF2B5EF4-FFF2-40B4-BE49-F238E27FC236}">
                <a16:creationId xmlns:a16="http://schemas.microsoft.com/office/drawing/2014/main" id="{6955A764-C93D-B340-8522-00D99B01C32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1513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51" name="Текст 4">
            <a:extLst>
              <a:ext uri="{FF2B5EF4-FFF2-40B4-BE49-F238E27FC236}">
                <a16:creationId xmlns:a16="http://schemas.microsoft.com/office/drawing/2014/main" id="{3B6F0302-CC80-2440-8C53-216CE749CF2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33450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898%</a:t>
            </a:r>
          </a:p>
        </p:txBody>
      </p:sp>
      <p:sp>
        <p:nvSpPr>
          <p:cNvPr id="52" name="Текст 34">
            <a:extLst>
              <a:ext uri="{FF2B5EF4-FFF2-40B4-BE49-F238E27FC236}">
                <a16:creationId xmlns:a16="http://schemas.microsoft.com/office/drawing/2014/main" id="{BEF6B95A-23EF-3B4F-B6D7-F144CE3857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3450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53" name="Текст 4">
            <a:extLst>
              <a:ext uri="{FF2B5EF4-FFF2-40B4-BE49-F238E27FC236}">
                <a16:creationId xmlns:a16="http://schemas.microsoft.com/office/drawing/2014/main" id="{0D6EDB34-E0E2-FD49-A17E-141D03EDE54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95388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413%</a:t>
            </a:r>
          </a:p>
        </p:txBody>
      </p:sp>
      <p:sp>
        <p:nvSpPr>
          <p:cNvPr id="54" name="Текст 34">
            <a:extLst>
              <a:ext uri="{FF2B5EF4-FFF2-40B4-BE49-F238E27FC236}">
                <a16:creationId xmlns:a16="http://schemas.microsoft.com/office/drawing/2014/main" id="{841A889F-3944-AF4B-8D31-72E5B5402AD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5388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55" name="Текст 4">
            <a:extLst>
              <a:ext uri="{FF2B5EF4-FFF2-40B4-BE49-F238E27FC236}">
                <a16:creationId xmlns:a16="http://schemas.microsoft.com/office/drawing/2014/main" id="{B82E010C-AB8A-E54A-81F5-F69442D512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57326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379%</a:t>
            </a:r>
          </a:p>
        </p:txBody>
      </p:sp>
      <p:sp>
        <p:nvSpPr>
          <p:cNvPr id="56" name="Текст 34">
            <a:extLst>
              <a:ext uri="{FF2B5EF4-FFF2-40B4-BE49-F238E27FC236}">
                <a16:creationId xmlns:a16="http://schemas.microsoft.com/office/drawing/2014/main" id="{71EC8D80-9DDF-EC4E-B15A-A5681C7E03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57326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0" name="Нижний колонтитул 2">
            <a:extLst>
              <a:ext uri="{FF2B5EF4-FFF2-40B4-BE49-F238E27FC236}">
                <a16:creationId xmlns:a16="http://schemas.microsoft.com/office/drawing/2014/main" id="{16461753-2BB8-6C4B-A147-F16A769B0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AA45DE1E-3882-C345-89BF-8E02B93DC6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10868554" cy="628404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209959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 (android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FDEF092-3208-1845-8672-6D8B3EC712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52707" y="570016"/>
            <a:ext cx="2813039" cy="5889800"/>
          </a:xfrm>
          <a:prstGeom prst="rect">
            <a:avLst/>
          </a:prstGeom>
        </p:spPr>
      </p:pic>
      <p:sp>
        <p:nvSpPr>
          <p:cNvPr id="12" name="Рисунок 4">
            <a:extLst>
              <a:ext uri="{FF2B5EF4-FFF2-40B4-BE49-F238E27FC236}">
                <a16:creationId xmlns:a16="http://schemas.microsoft.com/office/drawing/2014/main" id="{757510CD-0194-C14E-8EFE-FDF2631E143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64500" y="997907"/>
            <a:ext cx="2389452" cy="5034018"/>
          </a:xfrm>
          <a:prstGeom prst="roundRect">
            <a:avLst>
              <a:gd name="adj" fmla="val 10056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D756DDF1-4B12-7D4E-9CB4-D738F4BD4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62393238-E6A9-0541-A387-832EB57F03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1866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8881D350-7885-2A49-83AD-C0BF93F7A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792084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FC759CC-1CE0-0ECB-636A-38777513651B}"/>
              </a:ext>
            </a:extLst>
          </p:cNvPr>
          <p:cNvGrpSpPr/>
          <p:nvPr userDrawn="1"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2">
              <a:alpha val="30000"/>
            </a:schemeClr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D17D0AE3-958C-123B-A53F-7A6B906FB52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F0734BE0-81FD-8C4B-0101-37744273758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25C015D-07E9-6E0E-424E-8A6EC657052B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0BB360F9-EB72-8467-9F42-AA0DDC5E06B9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779A6DCE-7A59-8A3F-08BB-977B01AE7AD4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647A1106-8386-ED87-884F-0E9354468C66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BDF03F3E-E2F6-4655-E0EF-610A0072FAAD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1BC053A9-C450-AD66-4705-2AF55E068E0F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6E0A2298-A2C1-9939-4A29-752A155C0261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D186331-0182-91B0-5F6F-4AA869F17769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500098B1-BC5A-4B0D-0403-3623AC36751A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709825CD-E651-0DE1-D1D4-73D0BA47A38B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80794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1 androi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C5FE575-1CEC-D3DB-8FCF-2A1017A19A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131474" y="570016"/>
            <a:ext cx="2813039" cy="58898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DF1A388-F28C-CBC9-E3DA-745F0A8771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6099" y="570016"/>
            <a:ext cx="2813039" cy="5889800"/>
          </a:xfrm>
          <a:prstGeom prst="rect">
            <a:avLst/>
          </a:prstGeom>
        </p:spPr>
      </p:pic>
      <p:sp>
        <p:nvSpPr>
          <p:cNvPr id="22" name="Текст 2">
            <a:extLst>
              <a:ext uri="{FF2B5EF4-FFF2-40B4-BE49-F238E27FC236}">
                <a16:creationId xmlns:a16="http://schemas.microsoft.com/office/drawing/2014/main" id="{5F34DC6A-5E54-8041-A28E-AD14B39696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4763BBA6-94D1-BA4A-8D1A-02CA73327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BD5597EB-DC69-7841-9325-8D5C7BAC0D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3" name="Рисунок 4">
            <a:extLst>
              <a:ext uri="{FF2B5EF4-FFF2-40B4-BE49-F238E27FC236}">
                <a16:creationId xmlns:a16="http://schemas.microsoft.com/office/drawing/2014/main" id="{3E9B0076-EFDA-004B-AE0F-75BF994E6C6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057893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F1EAE615-B5DF-A642-9084-B217F83527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43268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1678514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2 android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CA4D7B14-F07A-8745-A80C-B6344E6A1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4767EC2C-75C2-7347-9269-15663A9AEA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0065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2CB7219-B555-C046-81F5-371C3ECB0B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5885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FE8A75EB-5F8C-F34F-8FDF-8B604603E13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469713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60A6DD6F-577C-7843-AA3C-7C4D9C76B82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5088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D29120-2C4A-3AEE-254A-63C7FD793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3294" y="570016"/>
            <a:ext cx="2813039" cy="58898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685BD-5225-82DB-3FE9-9F680D9680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257919" y="570016"/>
            <a:ext cx="2813039" cy="588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280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величенный мокап телефона (android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659ABA4-BEDA-DC8C-46EA-19192F8F7D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55501" y="510641"/>
            <a:ext cx="4095037" cy="8573984"/>
          </a:xfrm>
          <a:prstGeom prst="rect">
            <a:avLst/>
          </a:prstGeom>
        </p:spPr>
      </p:pic>
      <p:sp>
        <p:nvSpPr>
          <p:cNvPr id="9" name="Рисунок 4">
            <a:extLst>
              <a:ext uri="{FF2B5EF4-FFF2-40B4-BE49-F238E27FC236}">
                <a16:creationId xmlns:a16="http://schemas.microsoft.com/office/drawing/2014/main" id="{7F8FAB28-A608-E943-968A-FAAF62A246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274309" y="1146777"/>
            <a:ext cx="3457422" cy="7320329"/>
          </a:xfrm>
          <a:prstGeom prst="roundRect">
            <a:avLst>
              <a:gd name="adj" fmla="val 8360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E3305CDD-3491-3E45-90A5-B55EE3D0B4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39EF1891-D6D6-F04E-9AB5-5F34D54328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2448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0F160E23-EAD8-CF42-9487-65FA59B9E1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2448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3631780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C51A2E5D-8155-CE4A-9A24-40E5E88CA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0B6C9A79-C0B8-DB42-946C-3048498DC3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1866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6407DB1-3C0E-1D4A-947D-C629C9F09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78A6953-A4C5-EDD6-8DF4-CEEF513C0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2421" y="452282"/>
            <a:ext cx="3174791" cy="5991381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C5D3F1D7-0BFB-839D-BCDA-9BE27C07F05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51157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22853857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телефон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96C25A9-993E-2497-AA3A-3D7C5F09F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2421" y="452282"/>
            <a:ext cx="3174791" cy="5991381"/>
          </a:xfrm>
          <a:prstGeom prst="rect">
            <a:avLst/>
          </a:prstGeom>
        </p:spPr>
      </p:pic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C51A2E5D-8155-CE4A-9A24-40E5E88CA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0B6C9A79-C0B8-DB42-946C-3048498DC3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1866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6407DB1-3C0E-1D4A-947D-C629C9F09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B2EC8C01-B26B-6A95-3C6A-E20A6AB1D11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51157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29855656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ижний колонтитул 2">
            <a:extLst>
              <a:ext uri="{FF2B5EF4-FFF2-40B4-BE49-F238E27FC236}">
                <a16:creationId xmlns:a16="http://schemas.microsoft.com/office/drawing/2014/main" id="{B3AFF8D2-6DBE-064B-A37D-18C99D167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629F1670-755C-F040-B81C-E9B15CA093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B6C4F553-E9D9-E942-8508-3547C6785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68FECEB-BD79-6CF3-E843-889873C355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05642" y="452282"/>
            <a:ext cx="3174791" cy="5991381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D9A6945D-1682-45DA-6E92-1E2CDA75524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74378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C169910-72D7-B6CD-8A60-A7E02042F0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14156" y="452282"/>
            <a:ext cx="3174791" cy="5991381"/>
          </a:xfrm>
          <a:prstGeom prst="rect">
            <a:avLst/>
          </a:prstGeom>
        </p:spPr>
      </p:pic>
      <p:sp>
        <p:nvSpPr>
          <p:cNvPr id="5" name="Рисунок 4">
            <a:extLst>
              <a:ext uri="{FF2B5EF4-FFF2-40B4-BE49-F238E27FC236}">
                <a16:creationId xmlns:a16="http://schemas.microsoft.com/office/drawing/2014/main" id="{845DA09B-7B08-270D-B6F2-81D499C75E3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2892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2147060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ижний колонтитул 2">
            <a:extLst>
              <a:ext uri="{FF2B5EF4-FFF2-40B4-BE49-F238E27FC236}">
                <a16:creationId xmlns:a16="http://schemas.microsoft.com/office/drawing/2014/main" id="{3AFF00E4-62AD-B540-8679-82A3FC4AA3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C1E585F5-6B22-A141-8748-B6B40246DF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0065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FACED454-C51C-9F42-9261-00A0A8154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5885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CBE90DF-6479-0B92-0C62-CBCC4D049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745" y="452282"/>
            <a:ext cx="3174791" cy="5991381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06739DDB-F0CD-8D0A-815E-C7A0A2CF566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2481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0C849C5-F7F7-ACE9-5A87-8EB5BBC22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259" y="452282"/>
            <a:ext cx="3174791" cy="5991381"/>
          </a:xfrm>
          <a:prstGeom prst="rect">
            <a:avLst/>
          </a:prstGeom>
        </p:spPr>
      </p:pic>
      <p:sp>
        <p:nvSpPr>
          <p:cNvPr id="5" name="Рисунок 4">
            <a:extLst>
              <a:ext uri="{FF2B5EF4-FFF2-40B4-BE49-F238E27FC236}">
                <a16:creationId xmlns:a16="http://schemas.microsoft.com/office/drawing/2014/main" id="{2459E0F2-3E58-D029-9859-60D6378A25A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600995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1510961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величенный мокап телефон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87E48A-D9FF-C15F-3558-AE491B4E85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39500" y="335858"/>
            <a:ext cx="4496788" cy="8486219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8AA3E2CB-F40A-E1B0-DDDD-40B46CEBB44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465328" y="860766"/>
            <a:ext cx="3441003" cy="7447211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B9873513-A87A-5248-9EE5-22477683A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2888F5E9-30EC-364E-8110-24F16FB93E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2448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8F56B56D-4B01-084B-A800-36DCED1010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2448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3178041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криншот (16: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12">
            <a:extLst>
              <a:ext uri="{FF2B5EF4-FFF2-40B4-BE49-F238E27FC236}">
                <a16:creationId xmlns:a16="http://schemas.microsoft.com/office/drawing/2014/main" id="{FD2A22B0-09D2-7D4E-AADD-ED8BB34AC91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671080" y="2083205"/>
            <a:ext cx="5866489" cy="3599614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6C946BF-0D2D-B445-9F9C-2DC7351B94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6900" y="1773238"/>
            <a:ext cx="5868988" cy="309967"/>
          </a:xfrm>
          <a:prstGeom prst="rect">
            <a:avLst/>
          </a:prstGeom>
        </p:spPr>
      </p:pic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66F50713-9831-0B41-9CD2-5CFB1B79BC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546421F3-2599-7248-8343-9198B0A53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177323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D13C7EE6-39CD-7540-8356-4DFD11AD7A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10868554" cy="67945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696505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скриншо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>
            <a:extLst>
              <a:ext uri="{FF2B5EF4-FFF2-40B4-BE49-F238E27FC236}">
                <a16:creationId xmlns:a16="http://schemas.microsoft.com/office/drawing/2014/main" id="{6B939B2E-B6BB-D04B-8511-1F5FCBD3580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692150"/>
            <a:ext cx="5437187" cy="55086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5D818D37-95CD-A54D-A873-58443763EA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FE5B93B5-05A2-2544-8F22-44097F5E2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0C9B590D-4781-8D49-93CD-C4866F0890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9941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E557CCD-086C-FB44-B90D-3EF3D4829E02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6">
              <a:lumMod val="25000"/>
            </a:schemeClr>
          </a:solidFill>
        </p:grpSpPr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DCE8D7E7-CDB3-D842-A507-E9ABA9ADD1E8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AE7C5C1B-E6D0-B74D-94D8-EE8E0318446C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30B16F95-7910-AA4E-9B33-998E594C667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73F830A1-6F9F-1048-BFD0-DDC040C648B2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77FFF402-8DBA-7242-9FFC-C3DC39C8FB5F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E395422-C4C0-1E42-A6B8-C9430833BB74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2260313C-40F5-7442-A76B-213C3E23DF60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7C9F88CD-E45D-574E-AA6E-439F5B90D9A3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98D4A157-7580-6648-8EA1-80FF9EF1776A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531F6868-22D0-C74A-A396-909FD9731645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74B71261-00EA-5D46-9BD3-36A830E2E03E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D9D5BC82-92A0-4548-A639-C2F8C7AD8621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BD20CF99-3A4D-DF4B-8106-9D453C153B14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FDE9DE64-2F5C-8849-873E-D358C33D4A0A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E0F910EF-FB45-6E44-AC2D-F3DFF6D9214F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0A9D1BB-9DA6-5145-A2B3-8D9BCB4879AC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10A3DE31-B590-8A4B-894A-DE7F709DB3C9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913AFAFA-4781-5B4F-A7D0-CB4B8C7F1647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59BAB832-9522-6042-9F0F-DD523302A3C9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CB21644D-1E75-5C44-8921-06EE7406F91F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424907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C33ADE9E-ECB7-1F4A-B46F-CAD9E158FD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4" y="167981"/>
            <a:ext cx="4663017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C41E022A-C37A-A847-906F-26B820785F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2008DFEA-A24A-E34D-83B0-932D8C25F8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6658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C41E022A-C37A-A847-906F-26B820785F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70171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2008DFEA-A24A-E34D-83B0-932D8C25F8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4351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0793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692151"/>
            <a:ext cx="5437188" cy="4182176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7CF3EB50-A7E7-6C46-A2E6-243B308973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5147214"/>
            <a:ext cx="5449888" cy="3528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Заголовок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4567ABE6-665B-9A42-BA9A-9F11583EB5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5553075"/>
            <a:ext cx="5449888" cy="684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b="0" i="0" dirty="0">
                <a:latin typeface="SF Pro Text Light" pitchFamily="2" charset="0"/>
              </a:defRPr>
            </a:lvl1pPr>
          </a:lstStyle>
          <a:p>
            <a:pPr lvl="0"/>
            <a:r>
              <a:rPr lang="ru-RU" dirty="0"/>
              <a:t>Кратко сформулируйте главную мысль</a:t>
            </a:r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B1EB5948-9BFD-2F46-B73E-B5E2C7775A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7AFCF1EF-72D2-5E40-B289-9BC8691CA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B1C268A2-11C7-314A-802D-ADB67A88E2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9593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круж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608083" y="1773237"/>
            <a:ext cx="3156225" cy="315622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7FE8B859-2299-5046-96BF-81805B7C8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0350" y="2201188"/>
            <a:ext cx="4891856" cy="10634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Напишите основную мысль</a:t>
            </a:r>
          </a:p>
        </p:txBody>
      </p:sp>
      <p:sp>
        <p:nvSpPr>
          <p:cNvPr id="9" name="Текст 34">
            <a:extLst>
              <a:ext uri="{FF2B5EF4-FFF2-40B4-BE49-F238E27FC236}">
                <a16:creationId xmlns:a16="http://schemas.microsoft.com/office/drawing/2014/main" id="{808739EF-D4B6-B847-B487-DF6967A6EF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37598" y="3441164"/>
            <a:ext cx="4894515" cy="117223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b="0" i="0" dirty="0">
                <a:latin typeface="SF Pro Text Light" pitchFamily="2" charset="0"/>
              </a:defRPr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marL="228600" lvl="1" indent="-228600">
              <a:buClr>
                <a:schemeClr val="tx2"/>
              </a:buClr>
            </a:pPr>
            <a:r>
              <a:rPr lang="ru-RU" dirty="0"/>
              <a:t>Уровень 2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4850B24A-5604-CA43-BD24-FD32EA3B8A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99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сообще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33">
            <a:extLst>
              <a:ext uri="{FF2B5EF4-FFF2-40B4-BE49-F238E27FC236}">
                <a16:creationId xmlns:a16="http://schemas.microsoft.com/office/drawing/2014/main" id="{BBAF255A-528F-DA45-AF05-D9145BE2537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349730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3" name="Рисунок 34">
            <a:extLst>
              <a:ext uri="{FF2B5EF4-FFF2-40B4-BE49-F238E27FC236}">
                <a16:creationId xmlns:a16="http://schemas.microsoft.com/office/drawing/2014/main" id="{1EDE53BF-9384-3F44-82B0-7B4197259CA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950627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4" name="Рисунок 36">
            <a:extLst>
              <a:ext uri="{FF2B5EF4-FFF2-40B4-BE49-F238E27FC236}">
                <a16:creationId xmlns:a16="http://schemas.microsoft.com/office/drawing/2014/main" id="{F503805D-CC61-4B4D-B49F-78197D7A20C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511197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5" name="Рисунок 37">
            <a:extLst>
              <a:ext uri="{FF2B5EF4-FFF2-40B4-BE49-F238E27FC236}">
                <a16:creationId xmlns:a16="http://schemas.microsoft.com/office/drawing/2014/main" id="{E93B7ABF-4CFB-FA42-9B9B-75CABB82988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112094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1" name="Рисунок 33">
            <a:extLst>
              <a:ext uri="{FF2B5EF4-FFF2-40B4-BE49-F238E27FC236}">
                <a16:creationId xmlns:a16="http://schemas.microsoft.com/office/drawing/2014/main" id="{7A427DD4-5B81-304C-919B-55BDBFB3D87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49730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2" name="Рисунок 34">
            <a:extLst>
              <a:ext uri="{FF2B5EF4-FFF2-40B4-BE49-F238E27FC236}">
                <a16:creationId xmlns:a16="http://schemas.microsoft.com/office/drawing/2014/main" id="{03E6AF83-D8AB-454C-B7B3-C87A51861726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950627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3" name="Рисунок 36">
            <a:extLst>
              <a:ext uri="{FF2B5EF4-FFF2-40B4-BE49-F238E27FC236}">
                <a16:creationId xmlns:a16="http://schemas.microsoft.com/office/drawing/2014/main" id="{13680196-7687-714E-8022-5F67BEF30A1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511197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4" name="Рисунок 37">
            <a:extLst>
              <a:ext uri="{FF2B5EF4-FFF2-40B4-BE49-F238E27FC236}">
                <a16:creationId xmlns:a16="http://schemas.microsoft.com/office/drawing/2014/main" id="{53AC095F-4507-4F45-9C37-54381333B0A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0112094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5" name="Рисунок 33">
            <a:extLst>
              <a:ext uri="{FF2B5EF4-FFF2-40B4-BE49-F238E27FC236}">
                <a16:creationId xmlns:a16="http://schemas.microsoft.com/office/drawing/2014/main" id="{59D5525B-D102-F14E-8C3E-AD24F02476E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349730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6" name="Рисунок 34">
            <a:extLst>
              <a:ext uri="{FF2B5EF4-FFF2-40B4-BE49-F238E27FC236}">
                <a16:creationId xmlns:a16="http://schemas.microsoft.com/office/drawing/2014/main" id="{E67FE9E2-B71C-754D-A9E1-AFAF246534D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950627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7" name="Рисунок 36">
            <a:extLst>
              <a:ext uri="{FF2B5EF4-FFF2-40B4-BE49-F238E27FC236}">
                <a16:creationId xmlns:a16="http://schemas.microsoft.com/office/drawing/2014/main" id="{18086737-6CCB-9B45-A255-FAC9F39E7F3E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511197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8" name="Рисунок 37">
            <a:extLst>
              <a:ext uri="{FF2B5EF4-FFF2-40B4-BE49-F238E27FC236}">
                <a16:creationId xmlns:a16="http://schemas.microsoft.com/office/drawing/2014/main" id="{678A69C8-A077-EF40-8F97-585A2980BEA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0112094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9" name="Рисунок 33">
            <a:extLst>
              <a:ext uri="{FF2B5EF4-FFF2-40B4-BE49-F238E27FC236}">
                <a16:creationId xmlns:a16="http://schemas.microsoft.com/office/drawing/2014/main" id="{E51881C8-D566-D84E-B796-2173EC5D1AE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349730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70" name="Рисунок 34">
            <a:extLst>
              <a:ext uri="{FF2B5EF4-FFF2-40B4-BE49-F238E27FC236}">
                <a16:creationId xmlns:a16="http://schemas.microsoft.com/office/drawing/2014/main" id="{0E1B4231-F022-9844-925D-6A061371AEE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950627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71" name="Рисунок 36">
            <a:extLst>
              <a:ext uri="{FF2B5EF4-FFF2-40B4-BE49-F238E27FC236}">
                <a16:creationId xmlns:a16="http://schemas.microsoft.com/office/drawing/2014/main" id="{BD94CEF0-B973-3D41-BB44-21762663155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511197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72" name="Рисунок 37">
            <a:extLst>
              <a:ext uri="{FF2B5EF4-FFF2-40B4-BE49-F238E27FC236}">
                <a16:creationId xmlns:a16="http://schemas.microsoft.com/office/drawing/2014/main" id="{1928F8B3-07EC-A04D-8249-008477FB2A1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0112094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6" name="Текст 34">
            <a:extLst>
              <a:ext uri="{FF2B5EF4-FFF2-40B4-BE49-F238E27FC236}">
                <a16:creationId xmlns:a16="http://schemas.microsoft.com/office/drawing/2014/main" id="{64CD6D08-F9FF-9A44-A56F-59DCE9DF4A7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1513" y="2550946"/>
            <a:ext cx="3371850" cy="36863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b="0" i="0" dirty="0">
                <a:latin typeface="SF Pro Text Light" pitchFamily="2" charset="0"/>
              </a:defRPr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marL="228600" lvl="1" indent="-228600">
              <a:buClr>
                <a:schemeClr val="tx2"/>
              </a:buClr>
            </a:pPr>
            <a:r>
              <a:rPr lang="ru-RU" dirty="0"/>
              <a:t>Уровень 2</a:t>
            </a:r>
          </a:p>
        </p:txBody>
      </p:sp>
      <p:sp>
        <p:nvSpPr>
          <p:cNvPr id="21" name="Нижний колонтитул 2">
            <a:extLst>
              <a:ext uri="{FF2B5EF4-FFF2-40B4-BE49-F238E27FC236}">
                <a16:creationId xmlns:a16="http://schemas.microsoft.com/office/drawing/2014/main" id="{B5BF75A2-2D65-E947-9AA6-564933496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29" name="Заголовок 2">
            <a:extLst>
              <a:ext uri="{FF2B5EF4-FFF2-40B4-BE49-F238E27FC236}">
                <a16:creationId xmlns:a16="http://schemas.microsoft.com/office/drawing/2014/main" id="{6A07793F-F8F3-7A47-BBDB-26ADE0E1B8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49"/>
            <a:ext cx="3366029" cy="170815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127977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26617A05-57B0-D444-8882-A7FCC5FC028A}"/>
              </a:ext>
            </a:extLst>
          </p:cNvPr>
          <p:cNvSpPr txBox="1"/>
          <p:nvPr userDrawn="1"/>
        </p:nvSpPr>
        <p:spPr>
          <a:xfrm>
            <a:off x="3013869" y="-1049149"/>
            <a:ext cx="2058988" cy="4478149"/>
          </a:xfrm>
          <a:prstGeom prst="rect">
            <a:avLst/>
          </a:prstGeom>
          <a:noFill/>
        </p:spPr>
        <p:txBody>
          <a:bodyPr wrap="square" tIns="0" rtlCol="0" anchor="t">
            <a:spAutoFit/>
          </a:bodyPr>
          <a:lstStyle/>
          <a:p>
            <a:r>
              <a:rPr lang="ru-RU" sz="28800" b="1" i="0" dirty="0">
                <a:solidFill>
                  <a:schemeClr val="accent2"/>
                </a:solidFill>
                <a:latin typeface="VK Sans Display DemiBold" pitchFamily="2" charset="0"/>
              </a:rPr>
              <a:t>«</a:t>
            </a:r>
          </a:p>
        </p:txBody>
      </p:sp>
      <p:sp>
        <p:nvSpPr>
          <p:cNvPr id="9" name="Текст 43">
            <a:extLst>
              <a:ext uri="{FF2B5EF4-FFF2-40B4-BE49-F238E27FC236}">
                <a16:creationId xmlns:a16="http://schemas.microsoft.com/office/drawing/2014/main" id="{9BE4D7FE-BCEB-8846-AABB-259936AF80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46702" y="711409"/>
            <a:ext cx="6199186" cy="10618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36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dirty="0"/>
              <a:t>Цитата: </a:t>
            </a:r>
            <a:br>
              <a:rPr lang="ru-RU" dirty="0"/>
            </a:br>
            <a:r>
              <a:rPr lang="ru-RU" dirty="0"/>
              <a:t>ключевая мысль</a:t>
            </a:r>
          </a:p>
        </p:txBody>
      </p:sp>
      <p:sp>
        <p:nvSpPr>
          <p:cNvPr id="11" name="Рисунок 33">
            <a:extLst>
              <a:ext uri="{FF2B5EF4-FFF2-40B4-BE49-F238E27FC236}">
                <a16:creationId xmlns:a16="http://schemas.microsoft.com/office/drawing/2014/main" id="{FBD9F727-FC09-AA44-B9B5-4ECE7511ECA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1513" y="800101"/>
            <a:ext cx="3370771" cy="3371552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14" name="Name + Surname">
            <a:extLst>
              <a:ext uri="{FF2B5EF4-FFF2-40B4-BE49-F238E27FC236}">
                <a16:creationId xmlns:a16="http://schemas.microsoft.com/office/drawing/2014/main" id="{7F5F4B3E-5E28-5B42-8D95-CC4B33106A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2592" y="4580422"/>
            <a:ext cx="3372026" cy="8882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24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Имя </a:t>
            </a:r>
            <a:br>
              <a:rPr lang="en-US" dirty="0"/>
            </a:br>
            <a:r>
              <a:rPr lang="ru-RU" dirty="0"/>
              <a:t>и фамилия</a:t>
            </a:r>
            <a:endParaRPr lang="en-US" dirty="0"/>
          </a:p>
        </p:txBody>
      </p:sp>
      <p:sp>
        <p:nvSpPr>
          <p:cNvPr id="16" name="Position">
            <a:extLst>
              <a:ext uri="{FF2B5EF4-FFF2-40B4-BE49-F238E27FC236}">
                <a16:creationId xmlns:a16="http://schemas.microsoft.com/office/drawing/2014/main" id="{448EE364-91E2-BC4B-A39F-EDB604B1AD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2592" y="5490168"/>
            <a:ext cx="3370771" cy="7106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ctr">
              <a:defRPr lang="en-US" b="0" i="0" dirty="0">
                <a:latin typeface="SF Pro Text Light" pitchFamily="2" charset="0"/>
              </a:defRPr>
            </a:lvl1pPr>
          </a:lstStyle>
          <a:p>
            <a:pPr lvl="0"/>
            <a:r>
              <a:rPr lang="ru-RU" dirty="0"/>
              <a:t>Название должности</a:t>
            </a:r>
            <a:endParaRPr lang="en-US" dirty="0"/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652868F7-DC0A-7E43-AB22-D7A2C4D81E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6701" y="1983399"/>
            <a:ext cx="6194151" cy="4166098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latin typeface="SF Pro Text Light" pitchFamily="2" charset="0"/>
              </a:defRPr>
            </a:lvl1pPr>
            <a:lvl2pPr marL="228600" indent="-2286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/>
            </a:lvl3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  <a:endParaRPr lang="en-US" dirty="0"/>
          </a:p>
          <a:p>
            <a:pPr lvl="2"/>
            <a:r>
              <a:rPr lang="ru-RU" dirty="0"/>
              <a:t>Уровень 3</a:t>
            </a:r>
          </a:p>
        </p:txBody>
      </p:sp>
      <p:sp>
        <p:nvSpPr>
          <p:cNvPr id="17" name="Нижний колонтитул 2">
            <a:extLst>
              <a:ext uri="{FF2B5EF4-FFF2-40B4-BE49-F238E27FC236}">
                <a16:creationId xmlns:a16="http://schemas.microsoft.com/office/drawing/2014/main" id="{D07C4804-0BF7-6940-B206-CA538C7CA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728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43">
            <a:extLst>
              <a:ext uri="{FF2B5EF4-FFF2-40B4-BE49-F238E27FC236}">
                <a16:creationId xmlns:a16="http://schemas.microsoft.com/office/drawing/2014/main" id="{9BE4D7FE-BCEB-8846-AABB-259936AF80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59150" y="692151"/>
            <a:ext cx="8174038" cy="160961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ru-RU" sz="44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dirty="0"/>
              <a:t>Цитата: </a:t>
            </a:r>
            <a:br>
              <a:rPr lang="ru-RU" dirty="0"/>
            </a:br>
            <a:r>
              <a:rPr lang="ru-RU" dirty="0"/>
              <a:t>ключевая мысль</a:t>
            </a:r>
          </a:p>
        </p:txBody>
      </p:sp>
      <p:sp>
        <p:nvSpPr>
          <p:cNvPr id="14" name="Name + Surname">
            <a:extLst>
              <a:ext uri="{FF2B5EF4-FFF2-40B4-BE49-F238E27FC236}">
                <a16:creationId xmlns:a16="http://schemas.microsoft.com/office/drawing/2014/main" id="{7F5F4B3E-5E28-5B42-8D95-CC4B33106A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9150" y="5738829"/>
            <a:ext cx="8200516" cy="4619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40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Имя и фамилия</a:t>
            </a:r>
            <a:endParaRPr lang="en-US" dirty="0"/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652868F7-DC0A-7E43-AB22-D7A2C4D81E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66814" y="2459421"/>
            <a:ext cx="8174038" cy="1609617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lnSpc>
                <a:spcPct val="110000"/>
              </a:lnSpc>
              <a:buNone/>
              <a:defRPr sz="2400" b="0" i="0">
                <a:latin typeface="+mj-lt"/>
              </a:defRPr>
            </a:lvl1pPr>
            <a:lvl2pPr marL="228600" indent="-2286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110000"/>
              </a:lnSpc>
              <a:defRPr sz="1800">
                <a:latin typeface="+mj-lt"/>
              </a:defRPr>
            </a:lvl3pPr>
          </a:lstStyle>
          <a:p>
            <a:pPr lvl="0"/>
            <a:r>
              <a:rPr lang="ru-RU" dirty="0"/>
              <a:t>Опишите кратко идеи, </a:t>
            </a:r>
            <a:br>
              <a:rPr lang="ru-RU" dirty="0"/>
            </a:br>
            <a:r>
              <a:rPr lang="ru-RU" dirty="0"/>
              <a:t>подтверждающие основную мысль слайд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49603D-3461-EE46-98B7-7067B67CBB22}"/>
              </a:ext>
            </a:extLst>
          </p:cNvPr>
          <p:cNvSpPr txBox="1"/>
          <p:nvPr userDrawn="1"/>
        </p:nvSpPr>
        <p:spPr>
          <a:xfrm>
            <a:off x="544512" y="-1049150"/>
            <a:ext cx="2058988" cy="4478149"/>
          </a:xfrm>
          <a:prstGeom prst="rect">
            <a:avLst/>
          </a:prstGeom>
          <a:noFill/>
        </p:spPr>
        <p:txBody>
          <a:bodyPr wrap="square" tIns="0" rtlCol="0" anchor="t">
            <a:spAutoFit/>
          </a:bodyPr>
          <a:lstStyle/>
          <a:p>
            <a:r>
              <a:rPr lang="ru-RU" sz="28800" b="1" i="0" dirty="0">
                <a:solidFill>
                  <a:schemeClr val="accent2"/>
                </a:solidFill>
                <a:latin typeface="VK Sans Display DemiBold" pitchFamily="2" charset="0"/>
              </a:rPr>
              <a:t>«</a:t>
            </a:r>
          </a:p>
        </p:txBody>
      </p:sp>
      <p:sp>
        <p:nvSpPr>
          <p:cNvPr id="17" name="Нижний колонтитул 2">
            <a:extLst>
              <a:ext uri="{FF2B5EF4-FFF2-40B4-BE49-F238E27FC236}">
                <a16:creationId xmlns:a16="http://schemas.microsoft.com/office/drawing/2014/main" id="{D07C4804-0BF7-6940-B206-CA538C7CA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5873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061367"/>
            <a:ext cx="5475287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EAAA1846-DB51-9F71-5DBA-65CE4E39B084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6">
              <a:lumMod val="25000"/>
            </a:schemeClr>
          </a:solidFill>
        </p:grpSpPr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5BD43D21-AF8B-49D9-DBFD-7824F052CB74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BABE542-FC27-6851-D07B-003F396EA847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6472F141-742B-4001-AD41-1F8CFF199C14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8E6F12B1-C315-569D-C0B3-0708779FD822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FB738A3C-761C-B097-98E1-A7E9DDD8B4D6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1D936DD-3D0F-D3A7-71C4-6044ADB18AE6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DCF1DB48-93FD-4C30-E0BA-1C610FCAF9E7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D6A3D5F-585D-54EA-C4C4-931388F3DA76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5CA469-2BF5-5F2D-2C1E-2F659D1859B3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80320DF7-16FB-BB6B-CB55-F79A13C8E78D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B977905C-2899-D1B8-8A08-4DC87667FC63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02D7F3F0-A920-ED71-742B-A762F049F0BD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6D91930-D869-6589-97C5-1D361FF933CD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2F496F64-B4B6-BE2F-E5FA-CCE64964049E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8B32F09-F58E-4B4D-9A85-D44DD862FE8C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A0885AB2-E965-831E-C8DD-141FEF6F527A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1048246-1B39-BF44-D556-D1036A66A5A3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44D76DB-FDF8-5CC8-AECE-0BC0C42AF6F3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7F530F14-20C4-D9C3-1640-4BEBEBE2EF54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8C7D929-CD5C-EA43-D628-2B89F0761C8B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F3C97383-F76A-484F-9507-B6D3474A5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813" y="5643405"/>
            <a:ext cx="2467564" cy="5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114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061367"/>
            <a:ext cx="5475287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EAAA1846-DB51-9F71-5DBA-65CE4E39B084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2">
              <a:alpha val="30000"/>
            </a:schemeClr>
          </a:solidFill>
        </p:grpSpPr>
        <p:sp>
          <p:nvSpPr>
            <p:cNvPr id="69" name="Полилиния 68">
              <a:extLst>
                <a:ext uri="{FF2B5EF4-FFF2-40B4-BE49-F238E27FC236}">
                  <a16:creationId xmlns:a16="http://schemas.microsoft.com/office/drawing/2014/main" id="{5BD43D21-AF8B-49D9-DBFD-7824F052CB74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FBABE542-FC27-6851-D07B-003F396EA847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6472F141-742B-4001-AD41-1F8CFF199C14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8E6F12B1-C315-569D-C0B3-0708779FD822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FB738A3C-761C-B097-98E1-A7E9DDD8B4D6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71D936DD-3D0F-D3A7-71C4-6044ADB18AE6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DCF1DB48-93FD-4C30-E0BA-1C610FCAF9E7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3D6A3D5F-585D-54EA-C4C4-931388F3DA76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1A5CA469-2BF5-5F2D-2C1E-2F659D1859B3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80320DF7-16FB-BB6B-CB55-F79A13C8E78D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B977905C-2899-D1B8-8A08-4DC87667FC63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02D7F3F0-A920-ED71-742B-A762F049F0BD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06D91930-D869-6589-97C5-1D361FF933CD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2F496F64-B4B6-BE2F-E5FA-CCE64964049E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B8B32F09-F58E-4B4D-9A85-D44DD862FE8C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A0885AB2-E965-831E-C8DD-141FEF6F527A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1048246-1B39-BF44-D556-D1036A66A5A3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F44D76DB-FDF8-5CC8-AECE-0BC0C42AF6F3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7F530F14-20C4-D9C3-1640-4BEBEBE2EF54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8C7D929-CD5C-EA43-D628-2B89F0761C8B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F3C97383-F76A-484F-9507-B6D3474A5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8813" y="5643405"/>
            <a:ext cx="2467564" cy="5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989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 Q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43725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14535707-584D-CCEE-EECD-CFD9F4FC5E04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6">
              <a:lumMod val="25000"/>
            </a:schemeClr>
          </a:solidFill>
        </p:grpSpPr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7000D834-F13D-403D-2721-B4BA7EDCD5C9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2E1E82AD-773B-0805-07DC-19C9DA928ADB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4E5FE769-E861-4623-DAED-13DAC0AC2BA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48646398-448B-C5B5-111D-14BFE97FB21E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B67EC12C-1831-DCF0-A2AB-24825454C8E6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164C534F-A2E5-E3A6-1A0B-529D118C364A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B8E9CB0-0A69-84FC-6D1C-11F76A360C27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532C03E0-D961-F2ED-14E5-2F6E0DD0E221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B4E79C19-777C-AF2C-21D4-A56DE7698F08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760A7797-46F8-17DF-5D20-7DC341FA8157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0F852691-9968-8492-E84A-56448893C38D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5FD7C0F9-6C93-1857-C9A1-5A4BD316DC44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EA032AC-1E73-66B4-2D5C-7A6F59DB8168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34DA74E3-C35B-0FC7-7A5F-4E5D74304ADE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65ED901D-9F75-33DA-41D9-F9C744245A84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03E1B1B5-44CC-DA4D-68CE-A7313D1E7109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C3D0A63F-6499-811B-CC58-FA138E62E905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D053CD06-4B89-6A6B-761D-823D80EAFBED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9F36D28-F562-12EE-FB6A-BF4A59E74C37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89A5295A-6C8A-B982-590D-A26E9E5FB200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625059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E557CCD-086C-FB44-B90D-3EF3D4829E02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2">
              <a:alpha val="30000"/>
            </a:schemeClr>
          </a:solidFill>
        </p:grpSpPr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DCE8D7E7-CDB3-D842-A507-E9ABA9ADD1E8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AE7C5C1B-E6D0-B74D-94D8-EE8E0318446C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30B16F95-7910-AA4E-9B33-998E594C667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73F830A1-6F9F-1048-BFD0-DDC040C648B2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77FFF402-8DBA-7242-9FFC-C3DC39C8FB5F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E395422-C4C0-1E42-A6B8-C9430833BB74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2260313C-40F5-7442-A76B-213C3E23DF60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7C9F88CD-E45D-574E-AA6E-439F5B90D9A3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98D4A157-7580-6648-8EA1-80FF9EF1776A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531F6868-22D0-C74A-A396-909FD9731645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74B71261-00EA-5D46-9BD3-36A830E2E03E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D9D5BC82-92A0-4548-A639-C2F8C7AD8621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BD20CF99-3A4D-DF4B-8106-9D453C153B14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FDE9DE64-2F5C-8849-873E-D358C33D4A0A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E0F910EF-FB45-6E44-AC2D-F3DFF6D9214F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0A9D1BB-9DA6-5145-A2B3-8D9BCB4879AC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10A3DE31-B590-8A4B-894A-DE7F709DB3C9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913AFAFA-4781-5B4F-A7D0-CB4B8C7F1647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59BAB832-9522-6042-9F0F-DD523302A3C9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CB21644D-1E75-5C44-8921-06EE7406F91F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946372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 Q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43725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14535707-584D-CCEE-EECD-CFD9F4FC5E04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2">
              <a:alpha val="30000"/>
            </a:schemeClr>
          </a:solidFill>
        </p:grpSpPr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7000D834-F13D-403D-2721-B4BA7EDCD5C9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2E1E82AD-773B-0805-07DC-19C9DA928ADB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4E5FE769-E861-4623-DAED-13DAC0AC2BA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48646398-448B-C5B5-111D-14BFE97FB21E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B67EC12C-1831-DCF0-A2AB-24825454C8E6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164C534F-A2E5-E3A6-1A0B-529D118C364A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B8E9CB0-0A69-84FC-6D1C-11F76A360C27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532C03E0-D961-F2ED-14E5-2F6E0DD0E221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B4E79C19-777C-AF2C-21D4-A56DE7698F08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760A7797-46F8-17DF-5D20-7DC341FA8157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0F852691-9968-8492-E84A-56448893C38D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5FD7C0F9-6C93-1857-C9A1-5A4BD316DC44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6EA032AC-1E73-66B4-2D5C-7A6F59DB8168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34DA74E3-C35B-0FC7-7A5F-4E5D74304ADE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65ED901D-9F75-33DA-41D9-F9C744245A84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03E1B1B5-44CC-DA4D-68CE-A7313D1E7109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C3D0A63F-6499-811B-CC58-FA138E62E905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D053CD06-4B89-6A6B-761D-823D80EAFBED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9F36D28-F562-12EE-FB6A-BF4A59E74C37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89A5295A-6C8A-B982-590D-A26E9E5FB200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04015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 QR + подпись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37248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D6DC1EA-F789-2A4A-8872-C87E964C8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813" y="5842000"/>
            <a:ext cx="5437187" cy="35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асилий Иванов, должность</a:t>
            </a: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7E080237-29E5-A382-2A27-3BC5BE5A73BE}"/>
              </a:ext>
            </a:extLst>
          </p:cNvPr>
          <p:cNvGrpSpPr/>
          <p:nvPr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6">
              <a:lumMod val="25000"/>
            </a:schemeClr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E2C4C5E-AABE-60BB-87A0-7B840056A0A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097B5DD2-F216-2B28-0A30-5F04D98D1CB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AB97178D-C956-80BA-D9A9-CD97F152B7B3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2FD25D0-E310-2E9C-0AF8-CA77C225A2C3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6C6DB64-BE55-13A2-DE46-03D0FBB4B4A6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602F03F2-5810-DA4B-3105-CB10DD3000D9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CC128C20-2380-1779-E348-4809733E88FE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8DE2C6A-60C8-791E-9BC9-F70C2F97C928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EEE5622-53C8-E026-F0FC-C6A68B72D707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406B3C0-0497-3F99-A583-B5C90BD611C3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E84D7B3C-19BC-3B39-79A3-E5F9F961637F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0BE609ED-A557-C6A5-7BC1-2D587534808E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106319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 QR + подпись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TA">
            <a:extLst>
              <a:ext uri="{FF2B5EF4-FFF2-40B4-BE49-F238E27FC236}">
                <a16:creationId xmlns:a16="http://schemas.microsoft.com/office/drawing/2014/main" id="{DA96CE9B-0F6A-F443-A26C-EA507914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3724882"/>
            <a:ext cx="5475287" cy="18281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9121626-1FC2-D949-8DC1-536B3B601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3" y="692150"/>
            <a:ext cx="1289050" cy="12890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D6DC1EA-F789-2A4A-8872-C87E964C8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813" y="5842000"/>
            <a:ext cx="5437187" cy="355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асилий Иванов, должность</a:t>
            </a: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7E080237-29E5-A382-2A27-3BC5BE5A73BE}"/>
              </a:ext>
            </a:extLst>
          </p:cNvPr>
          <p:cNvGrpSpPr/>
          <p:nvPr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2">
              <a:alpha val="30000"/>
            </a:schemeClr>
          </a:solidFill>
        </p:grpSpPr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E2C4C5E-AABE-60BB-87A0-7B840056A0A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097B5DD2-F216-2B28-0A30-5F04D98D1CB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AB97178D-C956-80BA-D9A9-CD97F152B7B3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82FD25D0-E310-2E9C-0AF8-CA77C225A2C3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F6C6DB64-BE55-13A2-DE46-03D0FBB4B4A6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602F03F2-5810-DA4B-3105-CB10DD3000D9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CC128C20-2380-1779-E348-4809733E88FE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A8DE2C6A-60C8-791E-9BC9-F70C2F97C928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4EEE5622-53C8-E026-F0FC-C6A68B72D707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D406B3C0-0497-3F99-A583-B5C90BD611C3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E84D7B3C-19BC-3B39-79A3-E5F9F961637F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0BE609ED-A557-C6A5-7BC1-2D587534808E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60928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bg>
      <p:bgPr>
        <a:solidFill>
          <a:srgbClr val="1414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5FF446E-B820-9E48-A45C-36B8DE367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2232" y="0"/>
            <a:ext cx="11177259" cy="6863972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EA68EF-0EF7-4E44-ED97-C044F47EAE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678966"/>
            <a:ext cx="8970404" cy="830997"/>
          </a:xfrm>
        </p:spPr>
        <p:txBody>
          <a:bodyPr wrap="none" lIns="0" tIns="0" rIns="0" bIns="0" anchor="b">
            <a:spAutoFit/>
          </a:bodyPr>
          <a:lstStyle>
            <a:lvl1pPr algn="l">
              <a:defRPr sz="6000" b="0" i="0">
                <a:solidFill>
                  <a:schemeClr val="bg1"/>
                </a:solidFill>
                <a:latin typeface="VK Sans Display Medium" pitchFamily="2" charset="0"/>
              </a:defRPr>
            </a:lvl1pPr>
          </a:lstStyle>
          <a:p>
            <a:r>
              <a:rPr lang="ru-RU"/>
              <a:t>Серебряное поколение</a:t>
            </a:r>
            <a:endParaRPr lang="ru-AM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51DD481-F221-D9D3-C402-6CCFBC5B92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1535677" cy="332399"/>
          </a:xfrm>
        </p:spPr>
        <p:txBody>
          <a:bodyPr wrap="none" lIns="0" tIns="0" rIns="0" bIns="0">
            <a:sp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VK Sans Display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юнь 2025</a:t>
            </a:r>
            <a:endParaRPr lang="ru-AM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5BD658-50C1-E0EC-4BC1-9D76E7EC2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VK Sans Display" pitchFamily="2" charset="0"/>
              </a:defRPr>
            </a:lvl1pPr>
          </a:lstStyle>
          <a:p>
            <a:fld id="{C4906CB4-2AE7-274B-BF9E-F8F3326FD852}" type="datetimeFigureOut">
              <a:rPr lang="ru-AM"/>
              <a:pPr/>
              <a:t>10/9/25</a:t>
            </a:fld>
            <a:endParaRPr lang="ru-AM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63F108-6028-2317-9B56-262858180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VK Sans Display" pitchFamily="2" charset="0"/>
              </a:defRPr>
            </a:lvl1pPr>
          </a:lstStyle>
          <a:p>
            <a:endParaRPr lang="ru-AM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BC08F8-CA44-240F-A738-3AEC33134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VK Sans Display" pitchFamily="2" charset="0"/>
              </a:defRPr>
            </a:lvl1pPr>
          </a:lstStyle>
          <a:p>
            <a:fld id="{A34249E2-7D83-C947-8963-47DC80E56AD9}" type="slidenum">
              <a:rPr lang="ru-AM"/>
              <a:pPr/>
              <a:t>‹#›</a:t>
            </a:fld>
            <a:endParaRPr lang="ru-AM"/>
          </a:p>
        </p:txBody>
      </p:sp>
    </p:spTree>
    <p:extLst>
      <p:ext uri="{BB962C8B-B14F-4D97-AF65-F5344CB8AC3E}">
        <p14:creationId xmlns:p14="http://schemas.microsoft.com/office/powerpoint/2010/main" val="12652853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bg>
      <p:bgPr>
        <a:solidFill>
          <a:srgbClr val="1414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>
            <a:extLst>
              <a:ext uri="{FF2B5EF4-FFF2-40B4-BE49-F238E27FC236}">
                <a16:creationId xmlns:a16="http://schemas.microsoft.com/office/drawing/2014/main" id="{625BD658-50C1-E0EC-4BC1-9D76E7EC2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VK Sans Display" pitchFamily="2" charset="0"/>
              </a:defRPr>
            </a:lvl1pPr>
          </a:lstStyle>
          <a:p>
            <a:fld id="{C4906CB4-2AE7-274B-BF9E-F8F3326FD852}" type="datetimeFigureOut">
              <a:rPr lang="ru-AM"/>
              <a:pPr/>
              <a:t>10/9/25</a:t>
            </a:fld>
            <a:endParaRPr lang="ru-AM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63F108-6028-2317-9B56-262858180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VK Sans Display" pitchFamily="2" charset="0"/>
              </a:defRPr>
            </a:lvl1pPr>
          </a:lstStyle>
          <a:p>
            <a:endParaRPr lang="ru-AM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BC08F8-CA44-240F-A738-3AEC33134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VK Sans Display" pitchFamily="2" charset="0"/>
              </a:defRPr>
            </a:lvl1pPr>
          </a:lstStyle>
          <a:p>
            <a:fld id="{A34249E2-7D83-C947-8963-47DC80E56AD9}" type="slidenum">
              <a:rPr lang="ru-AM"/>
              <a:pPr/>
              <a:t>‹#›</a:t>
            </a:fld>
            <a:endParaRPr lang="ru-AM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EE1F4ED-5B0A-9DEA-DA96-682EC67E71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85665" y="0"/>
            <a:ext cx="1728107" cy="1078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707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D8CD981-9BDC-174C-870D-72169D64D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5132"/>
          <a:stretch/>
        </p:blipFill>
        <p:spPr>
          <a:xfrm>
            <a:off x="1844843" y="0"/>
            <a:ext cx="10347157" cy="6858000"/>
          </a:xfrm>
          <a:prstGeom prst="rect">
            <a:avLst/>
          </a:prstGeom>
        </p:spPr>
      </p:pic>
      <p:sp>
        <p:nvSpPr>
          <p:cNvPr id="7" name="Текст 34">
            <a:extLst>
              <a:ext uri="{FF2B5EF4-FFF2-40B4-BE49-F238E27FC236}">
                <a16:creationId xmlns:a16="http://schemas.microsoft.com/office/drawing/2014/main" id="{8A270FA7-C498-CB4A-B93B-68BF44D6B3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813" y="3307439"/>
            <a:ext cx="10224000" cy="276999"/>
          </a:xfrm>
          <a:prstGeom prst="rect">
            <a:avLst/>
          </a:prstGeom>
        </p:spPr>
        <p:txBody>
          <a:bodyPr lIns="0" bIns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обавьте подзаголовок — раскройте детали вашей темы</a:t>
            </a:r>
          </a:p>
        </p:txBody>
      </p:sp>
      <p:sp>
        <p:nvSpPr>
          <p:cNvPr id="9" name="Заголовок 7">
            <a:extLst>
              <a:ext uri="{FF2B5EF4-FFF2-40B4-BE49-F238E27FC236}">
                <a16:creationId xmlns:a16="http://schemas.microsoft.com/office/drawing/2014/main" id="{083D9462-612F-9C48-836D-B9594353DA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261" y="1065857"/>
            <a:ext cx="10220325" cy="183499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пишите тему презентации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6713D50-21CA-A345-83EF-83F83AEBB69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8813" y="5643405"/>
            <a:ext cx="2467564" cy="5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873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FC759CC-1CE0-0ECB-636A-38777513651B}"/>
              </a:ext>
            </a:extLst>
          </p:cNvPr>
          <p:cNvGrpSpPr/>
          <p:nvPr userDrawn="1"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6">
              <a:lumMod val="25000"/>
            </a:schemeClr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D17D0AE3-958C-123B-A53F-7A6B906FB52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F0734BE0-81FD-8C4B-0101-37744273758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25C015D-07E9-6E0E-424E-8A6EC657052B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0BB360F9-EB72-8467-9F42-AA0DDC5E06B9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779A6DCE-7A59-8A3F-08BB-977B01AE7AD4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647A1106-8386-ED87-884F-0E9354468C66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BDF03F3E-E2F6-4655-E0EF-610A0072FAAD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1BC053A9-C450-AD66-4705-2AF55E068E0F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6E0A2298-A2C1-9939-4A29-752A155C0261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D186331-0182-91B0-5F6F-4AA869F17769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500098B1-BC5A-4B0D-0403-3623AC36751A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709825CD-E651-0DE1-D1D4-73D0BA47A38B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744600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FC759CC-1CE0-0ECB-636A-38777513651B}"/>
              </a:ext>
            </a:extLst>
          </p:cNvPr>
          <p:cNvGrpSpPr/>
          <p:nvPr userDrawn="1"/>
        </p:nvGrpSpPr>
        <p:grpSpPr>
          <a:xfrm>
            <a:off x="7066328" y="0"/>
            <a:ext cx="5103281" cy="6858000"/>
            <a:chOff x="13297154" y="-2797570"/>
            <a:chExt cx="2934215" cy="3943120"/>
          </a:xfrm>
          <a:solidFill>
            <a:schemeClr val="accent2">
              <a:alpha val="30000"/>
            </a:schemeClr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D17D0AE3-958C-123B-A53F-7A6B906FB52D}"/>
                </a:ext>
              </a:extLst>
            </p:cNvPr>
            <p:cNvSpPr/>
            <p:nvPr/>
          </p:nvSpPr>
          <p:spPr>
            <a:xfrm>
              <a:off x="13297154" y="-2797533"/>
              <a:ext cx="856878" cy="985643"/>
            </a:xfrm>
            <a:custGeom>
              <a:avLst/>
              <a:gdLst>
                <a:gd name="connsiteX0" fmla="*/ 590265 w 856878"/>
                <a:gd name="connsiteY0" fmla="*/ 0 h 985643"/>
                <a:gd name="connsiteX1" fmla="*/ 0 w 856878"/>
                <a:gd name="connsiteY1" fmla="*/ 985644 h 985643"/>
                <a:gd name="connsiteX2" fmla="*/ 383751 w 856878"/>
                <a:gd name="connsiteY2" fmla="*/ 985644 h 985643"/>
                <a:gd name="connsiteX3" fmla="*/ 856879 w 856878"/>
                <a:gd name="connsiteY3" fmla="*/ 0 h 985643"/>
                <a:gd name="connsiteX4" fmla="*/ 590265 w 856878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3">
                  <a:moveTo>
                    <a:pt x="590265" y="0"/>
                  </a:moveTo>
                  <a:cubicBezTo>
                    <a:pt x="518255" y="397020"/>
                    <a:pt x="302990" y="744093"/>
                    <a:pt x="0" y="985644"/>
                  </a:cubicBezTo>
                  <a:lnTo>
                    <a:pt x="383751" y="985644"/>
                  </a:lnTo>
                  <a:cubicBezTo>
                    <a:pt x="629236" y="716613"/>
                    <a:pt x="798378" y="376622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F0734BE0-81FD-8C4B-0101-377442737582}"/>
                </a:ext>
              </a:extLst>
            </p:cNvPr>
            <p:cNvSpPr/>
            <p:nvPr/>
          </p:nvSpPr>
          <p:spPr>
            <a:xfrm>
              <a:off x="13297154" y="-1811708"/>
              <a:ext cx="856878" cy="985645"/>
            </a:xfrm>
            <a:custGeom>
              <a:avLst/>
              <a:gdLst>
                <a:gd name="connsiteX0" fmla="*/ 590265 w 856878"/>
                <a:gd name="connsiteY0" fmla="*/ 0 h 985645"/>
                <a:gd name="connsiteX1" fmla="*/ 0 w 856878"/>
                <a:gd name="connsiteY1" fmla="*/ 985645 h 985645"/>
                <a:gd name="connsiteX2" fmla="*/ 383751 w 856878"/>
                <a:gd name="connsiteY2" fmla="*/ 985645 h 985645"/>
                <a:gd name="connsiteX3" fmla="*/ 856879 w 856878"/>
                <a:gd name="connsiteY3" fmla="*/ 0 h 985645"/>
                <a:gd name="connsiteX4" fmla="*/ 590265 w 856878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0"/>
                  </a:moveTo>
                  <a:cubicBezTo>
                    <a:pt x="518255" y="397026"/>
                    <a:pt x="302990" y="744095"/>
                    <a:pt x="0" y="985645"/>
                  </a:cubicBezTo>
                  <a:lnTo>
                    <a:pt x="383751" y="985645"/>
                  </a:lnTo>
                  <a:cubicBezTo>
                    <a:pt x="629236" y="716618"/>
                    <a:pt x="798378" y="376621"/>
                    <a:pt x="856879" y="0"/>
                  </a:cubicBezTo>
                  <a:lnTo>
                    <a:pt x="590265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25C015D-07E9-6E0E-424E-8A6EC657052B}"/>
                </a:ext>
              </a:extLst>
            </p:cNvPr>
            <p:cNvSpPr/>
            <p:nvPr/>
          </p:nvSpPr>
          <p:spPr>
            <a:xfrm>
              <a:off x="13297154" y="-826063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5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0BB360F9-EB72-8467-9F42-AA0DDC5E06B9}"/>
                </a:ext>
              </a:extLst>
            </p:cNvPr>
            <p:cNvSpPr/>
            <p:nvPr/>
          </p:nvSpPr>
          <p:spPr>
            <a:xfrm>
              <a:off x="13297154" y="159905"/>
              <a:ext cx="856878" cy="985645"/>
            </a:xfrm>
            <a:custGeom>
              <a:avLst/>
              <a:gdLst>
                <a:gd name="connsiteX0" fmla="*/ 590265 w 856878"/>
                <a:gd name="connsiteY0" fmla="*/ 985645 h 985645"/>
                <a:gd name="connsiteX1" fmla="*/ 0 w 856878"/>
                <a:gd name="connsiteY1" fmla="*/ 0 h 985645"/>
                <a:gd name="connsiteX2" fmla="*/ 383751 w 856878"/>
                <a:gd name="connsiteY2" fmla="*/ 0 h 985645"/>
                <a:gd name="connsiteX3" fmla="*/ 856879 w 856878"/>
                <a:gd name="connsiteY3" fmla="*/ 985645 h 985645"/>
                <a:gd name="connsiteX4" fmla="*/ 590265 w 856878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78" h="985645">
                  <a:moveTo>
                    <a:pt x="590265" y="985645"/>
                  </a:moveTo>
                  <a:cubicBezTo>
                    <a:pt x="518255" y="588629"/>
                    <a:pt x="302990" y="241560"/>
                    <a:pt x="0" y="0"/>
                  </a:cubicBezTo>
                  <a:lnTo>
                    <a:pt x="383751" y="0"/>
                  </a:lnTo>
                  <a:cubicBezTo>
                    <a:pt x="629236" y="269036"/>
                    <a:pt x="798378" y="609025"/>
                    <a:pt x="856879" y="985645"/>
                  </a:cubicBezTo>
                  <a:lnTo>
                    <a:pt x="590265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779A6DCE-7A59-8A3F-08BB-977B01AE7AD4}"/>
                </a:ext>
              </a:extLst>
            </p:cNvPr>
            <p:cNvSpPr/>
            <p:nvPr/>
          </p:nvSpPr>
          <p:spPr>
            <a:xfrm>
              <a:off x="14335846" y="-2797533"/>
              <a:ext cx="856883" cy="985643"/>
            </a:xfrm>
            <a:custGeom>
              <a:avLst/>
              <a:gdLst>
                <a:gd name="connsiteX0" fmla="*/ 590270 w 856883"/>
                <a:gd name="connsiteY0" fmla="*/ 0 h 985643"/>
                <a:gd name="connsiteX1" fmla="*/ 0 w 856883"/>
                <a:gd name="connsiteY1" fmla="*/ 985644 h 985643"/>
                <a:gd name="connsiteX2" fmla="*/ 383749 w 856883"/>
                <a:gd name="connsiteY2" fmla="*/ 985644 h 985643"/>
                <a:gd name="connsiteX3" fmla="*/ 856884 w 856883"/>
                <a:gd name="connsiteY3" fmla="*/ 0 h 985643"/>
                <a:gd name="connsiteX4" fmla="*/ 590270 w 856883"/>
                <a:gd name="connsiteY4" fmla="*/ 0 h 98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3">
                  <a:moveTo>
                    <a:pt x="590270" y="0"/>
                  </a:moveTo>
                  <a:cubicBezTo>
                    <a:pt x="518259" y="397020"/>
                    <a:pt x="302990" y="744093"/>
                    <a:pt x="0" y="985644"/>
                  </a:cubicBezTo>
                  <a:lnTo>
                    <a:pt x="383749" y="985644"/>
                  </a:lnTo>
                  <a:cubicBezTo>
                    <a:pt x="62924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647A1106-8386-ED87-884F-0E9354468C66}"/>
                </a:ext>
              </a:extLst>
            </p:cNvPr>
            <p:cNvSpPr/>
            <p:nvPr/>
          </p:nvSpPr>
          <p:spPr>
            <a:xfrm>
              <a:off x="15374486" y="-2797570"/>
              <a:ext cx="856883" cy="985642"/>
            </a:xfrm>
            <a:custGeom>
              <a:avLst/>
              <a:gdLst>
                <a:gd name="connsiteX0" fmla="*/ 590270 w 856883"/>
                <a:gd name="connsiteY0" fmla="*/ 0 h 985642"/>
                <a:gd name="connsiteX1" fmla="*/ 0 w 856883"/>
                <a:gd name="connsiteY1" fmla="*/ 985643 h 985642"/>
                <a:gd name="connsiteX2" fmla="*/ 383749 w 856883"/>
                <a:gd name="connsiteY2" fmla="*/ 985643 h 985642"/>
                <a:gd name="connsiteX3" fmla="*/ 856884 w 856883"/>
                <a:gd name="connsiteY3" fmla="*/ 0 h 985642"/>
                <a:gd name="connsiteX4" fmla="*/ 590270 w 856883"/>
                <a:gd name="connsiteY4" fmla="*/ 0 h 9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2">
                  <a:moveTo>
                    <a:pt x="590270" y="0"/>
                  </a:moveTo>
                  <a:cubicBezTo>
                    <a:pt x="518259" y="397021"/>
                    <a:pt x="302990" y="744094"/>
                    <a:pt x="0" y="985643"/>
                  </a:cubicBezTo>
                  <a:lnTo>
                    <a:pt x="383749" y="985643"/>
                  </a:lnTo>
                  <a:cubicBezTo>
                    <a:pt x="629232" y="716613"/>
                    <a:pt x="798378" y="376622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BDF03F3E-E2F6-4655-E0EF-610A0072FAAD}"/>
                </a:ext>
              </a:extLst>
            </p:cNvPr>
            <p:cNvSpPr/>
            <p:nvPr/>
          </p:nvSpPr>
          <p:spPr>
            <a:xfrm>
              <a:off x="14335846" y="-1811708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4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1BC053A9-C450-AD66-4705-2AF55E068E0F}"/>
                </a:ext>
              </a:extLst>
            </p:cNvPr>
            <p:cNvSpPr/>
            <p:nvPr/>
          </p:nvSpPr>
          <p:spPr>
            <a:xfrm>
              <a:off x="14335846" y="-826063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6E0A2298-A2C1-9939-4A29-752A155C0261}"/>
                </a:ext>
              </a:extLst>
            </p:cNvPr>
            <p:cNvSpPr/>
            <p:nvPr/>
          </p:nvSpPr>
          <p:spPr>
            <a:xfrm>
              <a:off x="15374486" y="-1811746"/>
              <a:ext cx="856883" cy="985645"/>
            </a:xfrm>
            <a:custGeom>
              <a:avLst/>
              <a:gdLst>
                <a:gd name="connsiteX0" fmla="*/ 590270 w 856883"/>
                <a:gd name="connsiteY0" fmla="*/ 0 h 985645"/>
                <a:gd name="connsiteX1" fmla="*/ 0 w 856883"/>
                <a:gd name="connsiteY1" fmla="*/ 985645 h 985645"/>
                <a:gd name="connsiteX2" fmla="*/ 383749 w 856883"/>
                <a:gd name="connsiteY2" fmla="*/ 985645 h 985645"/>
                <a:gd name="connsiteX3" fmla="*/ 856884 w 856883"/>
                <a:gd name="connsiteY3" fmla="*/ 0 h 985645"/>
                <a:gd name="connsiteX4" fmla="*/ 590270 w 856883"/>
                <a:gd name="connsiteY4" fmla="*/ 0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0"/>
                  </a:moveTo>
                  <a:cubicBezTo>
                    <a:pt x="518259" y="397026"/>
                    <a:pt x="302990" y="744095"/>
                    <a:pt x="0" y="985645"/>
                  </a:cubicBezTo>
                  <a:lnTo>
                    <a:pt x="383749" y="985645"/>
                  </a:lnTo>
                  <a:cubicBezTo>
                    <a:pt x="629232" y="716618"/>
                    <a:pt x="798378" y="376621"/>
                    <a:pt x="856884" y="0"/>
                  </a:cubicBezTo>
                  <a:lnTo>
                    <a:pt x="59027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D186331-0182-91B0-5F6F-4AA869F17769}"/>
                </a:ext>
              </a:extLst>
            </p:cNvPr>
            <p:cNvSpPr/>
            <p:nvPr/>
          </p:nvSpPr>
          <p:spPr>
            <a:xfrm>
              <a:off x="15374486" y="-826101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5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500098B1-BC5A-4B0D-0403-3623AC36751A}"/>
                </a:ext>
              </a:extLst>
            </p:cNvPr>
            <p:cNvSpPr/>
            <p:nvPr/>
          </p:nvSpPr>
          <p:spPr>
            <a:xfrm>
              <a:off x="14335846" y="159905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4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709825CD-E651-0DE1-D1D4-73D0BA47A38B}"/>
                </a:ext>
              </a:extLst>
            </p:cNvPr>
            <p:cNvSpPr/>
            <p:nvPr/>
          </p:nvSpPr>
          <p:spPr>
            <a:xfrm>
              <a:off x="15374486" y="159867"/>
              <a:ext cx="856883" cy="985645"/>
            </a:xfrm>
            <a:custGeom>
              <a:avLst/>
              <a:gdLst>
                <a:gd name="connsiteX0" fmla="*/ 590270 w 856883"/>
                <a:gd name="connsiteY0" fmla="*/ 985645 h 985645"/>
                <a:gd name="connsiteX1" fmla="*/ 0 w 856883"/>
                <a:gd name="connsiteY1" fmla="*/ 0 h 985645"/>
                <a:gd name="connsiteX2" fmla="*/ 383749 w 856883"/>
                <a:gd name="connsiteY2" fmla="*/ 0 h 985645"/>
                <a:gd name="connsiteX3" fmla="*/ 856884 w 856883"/>
                <a:gd name="connsiteY3" fmla="*/ 985645 h 985645"/>
                <a:gd name="connsiteX4" fmla="*/ 590270 w 856883"/>
                <a:gd name="connsiteY4" fmla="*/ 985645 h 98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883" h="985645">
                  <a:moveTo>
                    <a:pt x="590270" y="985645"/>
                  </a:moveTo>
                  <a:cubicBezTo>
                    <a:pt x="518259" y="588629"/>
                    <a:pt x="302990" y="241560"/>
                    <a:pt x="0" y="0"/>
                  </a:cubicBezTo>
                  <a:lnTo>
                    <a:pt x="383749" y="0"/>
                  </a:lnTo>
                  <a:cubicBezTo>
                    <a:pt x="629232" y="269036"/>
                    <a:pt x="798378" y="609025"/>
                    <a:pt x="856884" y="985645"/>
                  </a:cubicBezTo>
                  <a:lnTo>
                    <a:pt x="590270" y="985645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845054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E557CCD-086C-FB44-B90D-3EF3D4829E02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6">
              <a:lumMod val="25000"/>
            </a:schemeClr>
          </a:solidFill>
        </p:grpSpPr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DCE8D7E7-CDB3-D842-A507-E9ABA9ADD1E8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AE7C5C1B-E6D0-B74D-94D8-EE8E0318446C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30B16F95-7910-AA4E-9B33-998E594C667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73F830A1-6F9F-1048-BFD0-DDC040C648B2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77FFF402-8DBA-7242-9FFC-C3DC39C8FB5F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E395422-C4C0-1E42-A6B8-C9430833BB74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2260313C-40F5-7442-A76B-213C3E23DF60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7C9F88CD-E45D-574E-AA6E-439F5B90D9A3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98D4A157-7580-6648-8EA1-80FF9EF1776A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531F6868-22D0-C74A-A396-909FD9731645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74B71261-00EA-5D46-9BD3-36A830E2E03E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D9D5BC82-92A0-4548-A639-C2F8C7AD8621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BD20CF99-3A4D-DF4B-8106-9D453C153B14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FDE9DE64-2F5C-8849-873E-D358C33D4A0A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E0F910EF-FB45-6E44-AC2D-F3DFF6D9214F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0A9D1BB-9DA6-5145-A2B3-8D9BCB4879AC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10A3DE31-B590-8A4B-894A-DE7F709DB3C9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913AFAFA-4781-5B4F-A7D0-CB4B8C7F1647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59BAB832-9522-6042-9F0F-DD523302A3C9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CB21644D-1E75-5C44-8921-06EE7406F91F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038897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E557CCD-086C-FB44-B90D-3EF3D4829E02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accent2">
              <a:alpha val="30000"/>
            </a:schemeClr>
          </a:solidFill>
        </p:grpSpPr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DCE8D7E7-CDB3-D842-A507-E9ABA9ADD1E8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AE7C5C1B-E6D0-B74D-94D8-EE8E0318446C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30B16F95-7910-AA4E-9B33-998E594C667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73F830A1-6F9F-1048-BFD0-DDC040C648B2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77FFF402-8DBA-7242-9FFC-C3DC39C8FB5F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E395422-C4C0-1E42-A6B8-C9430833BB74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2260313C-40F5-7442-A76B-213C3E23DF60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7C9F88CD-E45D-574E-AA6E-439F5B90D9A3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98D4A157-7580-6648-8EA1-80FF9EF1776A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531F6868-22D0-C74A-A396-909FD9731645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74B71261-00EA-5D46-9BD3-36A830E2E03E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D9D5BC82-92A0-4548-A639-C2F8C7AD8621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BD20CF99-3A4D-DF4B-8106-9D453C153B14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FDE9DE64-2F5C-8849-873E-D358C33D4A0A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E0F910EF-FB45-6E44-AC2D-F3DFF6D9214F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80A9D1BB-9DA6-5145-A2B3-8D9BCB4879AC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10A3DE31-B590-8A4B-894A-DE7F709DB3C9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913AFAFA-4781-5B4F-A7D0-CB4B8C7F1647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59BAB832-9522-6042-9F0F-DD523302A3C9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CB21644D-1E75-5C44-8921-06EE7406F91F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29454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2B2DB76B-E2F8-7340-8CCC-311C5269166F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6">
              <a:lumMod val="25000"/>
            </a:schemeClr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4FAFEB49-BFCD-8C49-8FA1-93564E1DBDED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D9C4C14E-9D64-6943-AC00-48BCBBD20C92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52F458A0-B262-AE4C-B9C5-CA1576B5FB76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7D3DEA7F-BA83-FF4A-89A4-EF545BE58D3A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FA4F9F9A-6A6B-E44E-A9C8-E36ACCFB3891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C1742241-E28E-C34C-A10A-64BE5B30A87F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634BF0B6-13A2-074B-9B4E-9B54BD43694F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CFE0EEB4-00DC-F143-9D1A-307480D081D0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40B990F-51CA-714A-A5FF-1DB0F98AE031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A5E39757-9839-EA42-8922-3DCA857D99E9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992648BD-56DC-9340-8DC2-FE39FFC2B4B0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E79046AA-03CE-6E4C-AD74-C6B5A5AD58C5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41CDDE5D-08B8-784F-9BFD-AC2F2D1C3F64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19CA0D89-92A2-F945-986A-01F45B2F2EFB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D155803-322D-C541-8318-4701F3525F24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E2BA5EC4-4BE7-864A-8A80-AFF07A3CF6F4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4DD1A0D7-1212-3F41-87AD-05611F7A48CE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7B78C0-5F67-924D-9EAD-442718D2620A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C7804E57-5157-7347-BFDA-6E6877B9A6EC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1EEA9B67-B6F5-E046-8933-B85225549161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10968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2B2DB76B-E2F8-7340-8CCC-311C5269166F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6">
              <a:lumMod val="25000"/>
            </a:schemeClr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4FAFEB49-BFCD-8C49-8FA1-93564E1DBDED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D9C4C14E-9D64-6943-AC00-48BCBBD20C92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52F458A0-B262-AE4C-B9C5-CA1576B5FB76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7D3DEA7F-BA83-FF4A-89A4-EF545BE58D3A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FA4F9F9A-6A6B-E44E-A9C8-E36ACCFB3891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C1742241-E28E-C34C-A10A-64BE5B30A87F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634BF0B6-13A2-074B-9B4E-9B54BD43694F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CFE0EEB4-00DC-F143-9D1A-307480D081D0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40B990F-51CA-714A-A5FF-1DB0F98AE031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A5E39757-9839-EA42-8922-3DCA857D99E9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992648BD-56DC-9340-8DC2-FE39FFC2B4B0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E79046AA-03CE-6E4C-AD74-C6B5A5AD58C5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41CDDE5D-08B8-784F-9BFD-AC2F2D1C3F64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19CA0D89-92A2-F945-986A-01F45B2F2EFB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D155803-322D-C541-8318-4701F3525F24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E2BA5EC4-4BE7-864A-8A80-AFF07A3CF6F4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4DD1A0D7-1212-3F41-87AD-05611F7A48CE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7B78C0-5F67-924D-9EAD-442718D2620A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C7804E57-5157-7347-BFDA-6E6877B9A6EC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1EEA9B67-B6F5-E046-8933-B85225549161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0702435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2B2DB76B-E2F8-7340-8CCC-311C5269166F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2">
              <a:alpha val="30000"/>
            </a:schemeClr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4FAFEB49-BFCD-8C49-8FA1-93564E1DBDED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D9C4C14E-9D64-6943-AC00-48BCBBD20C92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52F458A0-B262-AE4C-B9C5-CA1576B5FB76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7D3DEA7F-BA83-FF4A-89A4-EF545BE58D3A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FA4F9F9A-6A6B-E44E-A9C8-E36ACCFB3891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C1742241-E28E-C34C-A10A-64BE5B30A87F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634BF0B6-13A2-074B-9B4E-9B54BD43694F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CFE0EEB4-00DC-F143-9D1A-307480D081D0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40B990F-51CA-714A-A5FF-1DB0F98AE031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A5E39757-9839-EA42-8922-3DCA857D99E9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992648BD-56DC-9340-8DC2-FE39FFC2B4B0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E79046AA-03CE-6E4C-AD74-C6B5A5AD58C5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41CDDE5D-08B8-784F-9BFD-AC2F2D1C3F64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19CA0D89-92A2-F945-986A-01F45B2F2EFB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D155803-322D-C541-8318-4701F3525F24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E2BA5EC4-4BE7-864A-8A80-AFF07A3CF6F4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4DD1A0D7-1212-3F41-87AD-05611F7A48CE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7B78C0-5F67-924D-9EAD-442718D2620A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C7804E57-5157-7347-BFDA-6E6877B9A6EC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1EEA9B67-B6F5-E046-8933-B85225549161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89287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раздел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091915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336764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9417" y="2971952"/>
            <a:ext cx="8193166" cy="9140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263522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6251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0F7ABA-9207-F14B-ABD3-93944D691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2681816" cy="6442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44E5408C-4056-F34C-9874-98FB37FC1B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3363" y="692150"/>
            <a:ext cx="7489825" cy="550862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2400">
                <a:solidFill>
                  <a:schemeClr val="tx1"/>
                </a:solidFill>
                <a:latin typeface="+mj-lt"/>
              </a:defRPr>
            </a:lvl1pPr>
            <a:lvl2pPr marL="846138" indent="-317500">
              <a:tabLst/>
              <a:defRPr>
                <a:solidFill>
                  <a:schemeClr val="tx1"/>
                </a:solidFill>
              </a:defRPr>
            </a:lvl2pPr>
            <a:lvl3pPr marL="1208088" indent="-287338"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/>
              <a:t>Раскройте содержание презентации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3F11BB92-6739-9747-9A25-62A737177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5649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02D26E4A-0B0F-A33D-01D9-CE784741949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12125" y="0"/>
            <a:ext cx="4079875" cy="685800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0F7ABA-9207-F14B-ABD3-93944D691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6442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44E5408C-4056-F34C-9874-98FB37FC1B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1513" y="1773238"/>
            <a:ext cx="5424487" cy="4427537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2400">
                <a:solidFill>
                  <a:schemeClr val="tx1"/>
                </a:solidFill>
                <a:latin typeface="+mj-lt"/>
              </a:defRPr>
            </a:lvl1pPr>
            <a:lvl2pPr marL="846138" indent="-317500">
              <a:tabLst/>
              <a:defRPr>
                <a:solidFill>
                  <a:schemeClr val="tx1"/>
                </a:solidFill>
              </a:defRPr>
            </a:lvl2pPr>
            <a:lvl3pPr marL="1208088" indent="-287338"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/>
              <a:t>Раскройте содержание презентации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3F11BB92-6739-9747-9A25-62A737177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614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F3C1226-071C-F54E-9AFB-D71CEE530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F3D3D73E-3070-D547-A8E4-656E5B9A0B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7566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744C34BA-F094-3041-A38F-24178A945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513" y="1773238"/>
            <a:ext cx="10861675" cy="446404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2F4419-792A-8B49-AAC6-9EEE75A63D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55738041-44B9-C64F-82DF-90E7BDAF6E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4541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2B2DB76B-E2F8-7340-8CCC-311C5269166F}"/>
              </a:ext>
            </a:extLst>
          </p:cNvPr>
          <p:cNvGrpSpPr/>
          <p:nvPr userDrawn="1"/>
        </p:nvGrpSpPr>
        <p:grpSpPr>
          <a:xfrm>
            <a:off x="6449857" y="-1"/>
            <a:ext cx="5680147" cy="6857995"/>
            <a:chOff x="13083669" y="1592300"/>
            <a:chExt cx="3266072" cy="3943332"/>
          </a:xfrm>
          <a:solidFill>
            <a:schemeClr val="accent2">
              <a:alpha val="30000"/>
            </a:schemeClr>
          </a:solidFill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4FAFEB49-BFCD-8C49-8FA1-93564E1DBDED}"/>
                </a:ext>
              </a:extLst>
            </p:cNvPr>
            <p:cNvSpPr/>
            <p:nvPr/>
          </p:nvSpPr>
          <p:spPr>
            <a:xfrm>
              <a:off x="13083669" y="1592300"/>
              <a:ext cx="610934" cy="788668"/>
            </a:xfrm>
            <a:custGeom>
              <a:avLst/>
              <a:gdLst>
                <a:gd name="connsiteX0" fmla="*/ 153719 w 610934"/>
                <a:gd name="connsiteY0" fmla="*/ 0 h 788668"/>
                <a:gd name="connsiteX1" fmla="*/ 610935 w 610934"/>
                <a:gd name="connsiteY1" fmla="*/ 788669 h 788668"/>
                <a:gd name="connsiteX2" fmla="*/ 390077 w 610934"/>
                <a:gd name="connsiteY2" fmla="*/ 788669 h 788668"/>
                <a:gd name="connsiteX3" fmla="*/ 0 w 610934"/>
                <a:gd name="connsiteY3" fmla="*/ 0 h 788668"/>
                <a:gd name="connsiteX4" fmla="*/ 153719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19" y="0"/>
                  </a:moveTo>
                  <a:cubicBezTo>
                    <a:pt x="209853" y="314769"/>
                    <a:pt x="375998" y="591408"/>
                    <a:pt x="610935" y="788669"/>
                  </a:cubicBezTo>
                  <a:lnTo>
                    <a:pt x="390077" y="788669"/>
                  </a:lnTo>
                  <a:cubicBezTo>
                    <a:pt x="188097" y="575752"/>
                    <a:pt x="48350" y="303133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D9C4C14E-9D64-6943-AC00-48BCBBD20C92}"/>
                </a:ext>
              </a:extLst>
            </p:cNvPr>
            <p:cNvSpPr/>
            <p:nvPr/>
          </p:nvSpPr>
          <p:spPr>
            <a:xfrm>
              <a:off x="13968716" y="1592300"/>
              <a:ext cx="610930" cy="788668"/>
            </a:xfrm>
            <a:custGeom>
              <a:avLst/>
              <a:gdLst>
                <a:gd name="connsiteX0" fmla="*/ 153716 w 610930"/>
                <a:gd name="connsiteY0" fmla="*/ 0 h 788668"/>
                <a:gd name="connsiteX1" fmla="*/ 610930 w 610930"/>
                <a:gd name="connsiteY1" fmla="*/ 788669 h 788668"/>
                <a:gd name="connsiteX2" fmla="*/ 390078 w 610930"/>
                <a:gd name="connsiteY2" fmla="*/ 788669 h 788668"/>
                <a:gd name="connsiteX3" fmla="*/ 0 w 610930"/>
                <a:gd name="connsiteY3" fmla="*/ 0 h 788668"/>
                <a:gd name="connsiteX4" fmla="*/ 153716 w 610930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8">
                  <a:moveTo>
                    <a:pt x="153716" y="0"/>
                  </a:moveTo>
                  <a:cubicBezTo>
                    <a:pt x="209853" y="314769"/>
                    <a:pt x="375994" y="591408"/>
                    <a:pt x="610930" y="788669"/>
                  </a:cubicBezTo>
                  <a:lnTo>
                    <a:pt x="390078" y="788669"/>
                  </a:lnTo>
                  <a:cubicBezTo>
                    <a:pt x="188095" y="575752"/>
                    <a:pt x="48349" y="303133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52F458A0-B262-AE4C-B9C5-CA1576B5FB76}"/>
                </a:ext>
              </a:extLst>
            </p:cNvPr>
            <p:cNvSpPr/>
            <p:nvPr/>
          </p:nvSpPr>
          <p:spPr>
            <a:xfrm>
              <a:off x="14853745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74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49" y="314769"/>
                    <a:pt x="375999" y="591408"/>
                    <a:pt x="610935" y="788669"/>
                  </a:cubicBezTo>
                  <a:lnTo>
                    <a:pt x="390074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7D3DEA7F-BA83-FF4A-89A4-EF545BE58D3A}"/>
                </a:ext>
              </a:extLst>
            </p:cNvPr>
            <p:cNvSpPr/>
            <p:nvPr/>
          </p:nvSpPr>
          <p:spPr>
            <a:xfrm>
              <a:off x="15738807" y="1592300"/>
              <a:ext cx="610934" cy="788668"/>
            </a:xfrm>
            <a:custGeom>
              <a:avLst/>
              <a:gdLst>
                <a:gd name="connsiteX0" fmla="*/ 153720 w 610934"/>
                <a:gd name="connsiteY0" fmla="*/ 0 h 788668"/>
                <a:gd name="connsiteX1" fmla="*/ 610935 w 610934"/>
                <a:gd name="connsiteY1" fmla="*/ 788669 h 788668"/>
                <a:gd name="connsiteX2" fmla="*/ 390083 w 610934"/>
                <a:gd name="connsiteY2" fmla="*/ 788669 h 788668"/>
                <a:gd name="connsiteX3" fmla="*/ 0 w 610934"/>
                <a:gd name="connsiteY3" fmla="*/ 0 h 788668"/>
                <a:gd name="connsiteX4" fmla="*/ 153720 w 610934"/>
                <a:gd name="connsiteY4" fmla="*/ 0 h 7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8">
                  <a:moveTo>
                    <a:pt x="153720" y="0"/>
                  </a:moveTo>
                  <a:cubicBezTo>
                    <a:pt x="209858" y="314769"/>
                    <a:pt x="375999" y="591408"/>
                    <a:pt x="610935" y="788669"/>
                  </a:cubicBezTo>
                  <a:lnTo>
                    <a:pt x="390083" y="788669"/>
                  </a:lnTo>
                  <a:cubicBezTo>
                    <a:pt x="188099" y="575752"/>
                    <a:pt x="48349" y="303133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FA4F9F9A-6A6B-E44E-A9C8-E36ACCFB3891}"/>
                </a:ext>
              </a:extLst>
            </p:cNvPr>
            <p:cNvSpPr/>
            <p:nvPr/>
          </p:nvSpPr>
          <p:spPr>
            <a:xfrm>
              <a:off x="13083669" y="2380938"/>
              <a:ext cx="610934" cy="788671"/>
            </a:xfrm>
            <a:custGeom>
              <a:avLst/>
              <a:gdLst>
                <a:gd name="connsiteX0" fmla="*/ 153719 w 610934"/>
                <a:gd name="connsiteY0" fmla="*/ 0 h 788671"/>
                <a:gd name="connsiteX1" fmla="*/ 610935 w 610934"/>
                <a:gd name="connsiteY1" fmla="*/ 788671 h 788671"/>
                <a:gd name="connsiteX2" fmla="*/ 390077 w 610934"/>
                <a:gd name="connsiteY2" fmla="*/ 788671 h 788671"/>
                <a:gd name="connsiteX3" fmla="*/ 0 w 610934"/>
                <a:gd name="connsiteY3" fmla="*/ 0 h 788671"/>
                <a:gd name="connsiteX4" fmla="*/ 153719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19" y="0"/>
                  </a:moveTo>
                  <a:cubicBezTo>
                    <a:pt x="209853" y="314764"/>
                    <a:pt x="375998" y="591405"/>
                    <a:pt x="610935" y="788671"/>
                  </a:cubicBezTo>
                  <a:lnTo>
                    <a:pt x="390077" y="788671"/>
                  </a:lnTo>
                  <a:cubicBezTo>
                    <a:pt x="188097" y="575749"/>
                    <a:pt x="48350" y="303134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C1742241-E28E-C34C-A10A-64BE5B30A87F}"/>
                </a:ext>
              </a:extLst>
            </p:cNvPr>
            <p:cNvSpPr/>
            <p:nvPr/>
          </p:nvSpPr>
          <p:spPr>
            <a:xfrm>
              <a:off x="13968716" y="2380938"/>
              <a:ext cx="610930" cy="788671"/>
            </a:xfrm>
            <a:custGeom>
              <a:avLst/>
              <a:gdLst>
                <a:gd name="connsiteX0" fmla="*/ 153716 w 610930"/>
                <a:gd name="connsiteY0" fmla="*/ 0 h 788671"/>
                <a:gd name="connsiteX1" fmla="*/ 610930 w 610930"/>
                <a:gd name="connsiteY1" fmla="*/ 788671 h 788671"/>
                <a:gd name="connsiteX2" fmla="*/ 390078 w 610930"/>
                <a:gd name="connsiteY2" fmla="*/ 788671 h 788671"/>
                <a:gd name="connsiteX3" fmla="*/ 0 w 610930"/>
                <a:gd name="connsiteY3" fmla="*/ 0 h 788671"/>
                <a:gd name="connsiteX4" fmla="*/ 153716 w 610930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1">
                  <a:moveTo>
                    <a:pt x="153716" y="0"/>
                  </a:moveTo>
                  <a:cubicBezTo>
                    <a:pt x="209853" y="314764"/>
                    <a:pt x="375994" y="591405"/>
                    <a:pt x="610930" y="788671"/>
                  </a:cubicBezTo>
                  <a:lnTo>
                    <a:pt x="390078" y="788671"/>
                  </a:lnTo>
                  <a:cubicBezTo>
                    <a:pt x="188095" y="575749"/>
                    <a:pt x="48349" y="303134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634BF0B6-13A2-074B-9B4E-9B54BD43694F}"/>
                </a:ext>
              </a:extLst>
            </p:cNvPr>
            <p:cNvSpPr/>
            <p:nvPr/>
          </p:nvSpPr>
          <p:spPr>
            <a:xfrm>
              <a:off x="14853745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74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49" y="314764"/>
                    <a:pt x="375999" y="591405"/>
                    <a:pt x="610935" y="788671"/>
                  </a:cubicBezTo>
                  <a:lnTo>
                    <a:pt x="390074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CFE0EEB4-00DC-F143-9D1A-307480D081D0}"/>
                </a:ext>
              </a:extLst>
            </p:cNvPr>
            <p:cNvSpPr/>
            <p:nvPr/>
          </p:nvSpPr>
          <p:spPr>
            <a:xfrm>
              <a:off x="15738807" y="2380938"/>
              <a:ext cx="610934" cy="788671"/>
            </a:xfrm>
            <a:custGeom>
              <a:avLst/>
              <a:gdLst>
                <a:gd name="connsiteX0" fmla="*/ 153720 w 610934"/>
                <a:gd name="connsiteY0" fmla="*/ 0 h 788671"/>
                <a:gd name="connsiteX1" fmla="*/ 610935 w 610934"/>
                <a:gd name="connsiteY1" fmla="*/ 788671 h 788671"/>
                <a:gd name="connsiteX2" fmla="*/ 390083 w 610934"/>
                <a:gd name="connsiteY2" fmla="*/ 788671 h 788671"/>
                <a:gd name="connsiteX3" fmla="*/ 0 w 610934"/>
                <a:gd name="connsiteY3" fmla="*/ 0 h 788671"/>
                <a:gd name="connsiteX4" fmla="*/ 153720 w 610934"/>
                <a:gd name="connsiteY4" fmla="*/ 0 h 78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1">
                  <a:moveTo>
                    <a:pt x="153720" y="0"/>
                  </a:moveTo>
                  <a:cubicBezTo>
                    <a:pt x="209858" y="314764"/>
                    <a:pt x="375999" y="591405"/>
                    <a:pt x="610935" y="788671"/>
                  </a:cubicBezTo>
                  <a:lnTo>
                    <a:pt x="390083" y="788671"/>
                  </a:lnTo>
                  <a:cubicBezTo>
                    <a:pt x="188099" y="575749"/>
                    <a:pt x="48349" y="303134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040B990F-51CA-714A-A5FF-1DB0F98AE031}"/>
                </a:ext>
              </a:extLst>
            </p:cNvPr>
            <p:cNvSpPr/>
            <p:nvPr/>
          </p:nvSpPr>
          <p:spPr>
            <a:xfrm>
              <a:off x="13083669" y="3169610"/>
              <a:ext cx="610934" cy="788674"/>
            </a:xfrm>
            <a:custGeom>
              <a:avLst/>
              <a:gdLst>
                <a:gd name="connsiteX0" fmla="*/ 153719 w 610934"/>
                <a:gd name="connsiteY0" fmla="*/ 0 h 788674"/>
                <a:gd name="connsiteX1" fmla="*/ 610935 w 610934"/>
                <a:gd name="connsiteY1" fmla="*/ 788674 h 788674"/>
                <a:gd name="connsiteX2" fmla="*/ 390077 w 610934"/>
                <a:gd name="connsiteY2" fmla="*/ 788674 h 788674"/>
                <a:gd name="connsiteX3" fmla="*/ 0 w 610934"/>
                <a:gd name="connsiteY3" fmla="*/ 0 h 788674"/>
                <a:gd name="connsiteX4" fmla="*/ 153719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19" y="0"/>
                  </a:moveTo>
                  <a:cubicBezTo>
                    <a:pt x="209853" y="314777"/>
                    <a:pt x="375998" y="591418"/>
                    <a:pt x="610935" y="788674"/>
                  </a:cubicBezTo>
                  <a:lnTo>
                    <a:pt x="390077" y="788674"/>
                  </a:lnTo>
                  <a:cubicBezTo>
                    <a:pt x="188097" y="575752"/>
                    <a:pt x="48350" y="303137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A5E39757-9839-EA42-8922-3DCA857D99E9}"/>
                </a:ext>
              </a:extLst>
            </p:cNvPr>
            <p:cNvSpPr/>
            <p:nvPr/>
          </p:nvSpPr>
          <p:spPr>
            <a:xfrm>
              <a:off x="13968716" y="3169610"/>
              <a:ext cx="610930" cy="788674"/>
            </a:xfrm>
            <a:custGeom>
              <a:avLst/>
              <a:gdLst>
                <a:gd name="connsiteX0" fmla="*/ 153716 w 610930"/>
                <a:gd name="connsiteY0" fmla="*/ 0 h 788674"/>
                <a:gd name="connsiteX1" fmla="*/ 610930 w 610930"/>
                <a:gd name="connsiteY1" fmla="*/ 788674 h 788674"/>
                <a:gd name="connsiteX2" fmla="*/ 390078 w 610930"/>
                <a:gd name="connsiteY2" fmla="*/ 788674 h 788674"/>
                <a:gd name="connsiteX3" fmla="*/ 0 w 610930"/>
                <a:gd name="connsiteY3" fmla="*/ 0 h 788674"/>
                <a:gd name="connsiteX4" fmla="*/ 153716 w 610930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74">
                  <a:moveTo>
                    <a:pt x="153716" y="0"/>
                  </a:moveTo>
                  <a:cubicBezTo>
                    <a:pt x="209853" y="314777"/>
                    <a:pt x="375994" y="591418"/>
                    <a:pt x="610930" y="788674"/>
                  </a:cubicBezTo>
                  <a:lnTo>
                    <a:pt x="390078" y="788674"/>
                  </a:lnTo>
                  <a:cubicBezTo>
                    <a:pt x="188095" y="575752"/>
                    <a:pt x="48349" y="303137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992648BD-56DC-9340-8DC2-FE39FFC2B4B0}"/>
                </a:ext>
              </a:extLst>
            </p:cNvPr>
            <p:cNvSpPr/>
            <p:nvPr/>
          </p:nvSpPr>
          <p:spPr>
            <a:xfrm>
              <a:off x="14853745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74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49" y="314777"/>
                    <a:pt x="375999" y="591418"/>
                    <a:pt x="610935" y="788674"/>
                  </a:cubicBezTo>
                  <a:lnTo>
                    <a:pt x="390074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E79046AA-03CE-6E4C-AD74-C6B5A5AD58C5}"/>
                </a:ext>
              </a:extLst>
            </p:cNvPr>
            <p:cNvSpPr/>
            <p:nvPr/>
          </p:nvSpPr>
          <p:spPr>
            <a:xfrm>
              <a:off x="15738807" y="3169610"/>
              <a:ext cx="610934" cy="788674"/>
            </a:xfrm>
            <a:custGeom>
              <a:avLst/>
              <a:gdLst>
                <a:gd name="connsiteX0" fmla="*/ 153720 w 610934"/>
                <a:gd name="connsiteY0" fmla="*/ 0 h 788674"/>
                <a:gd name="connsiteX1" fmla="*/ 610935 w 610934"/>
                <a:gd name="connsiteY1" fmla="*/ 788674 h 788674"/>
                <a:gd name="connsiteX2" fmla="*/ 390083 w 610934"/>
                <a:gd name="connsiteY2" fmla="*/ 788674 h 788674"/>
                <a:gd name="connsiteX3" fmla="*/ 0 w 610934"/>
                <a:gd name="connsiteY3" fmla="*/ 0 h 788674"/>
                <a:gd name="connsiteX4" fmla="*/ 153720 w 610934"/>
                <a:gd name="connsiteY4" fmla="*/ 0 h 7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74">
                  <a:moveTo>
                    <a:pt x="153720" y="0"/>
                  </a:moveTo>
                  <a:cubicBezTo>
                    <a:pt x="209858" y="314777"/>
                    <a:pt x="375999" y="591418"/>
                    <a:pt x="610935" y="788674"/>
                  </a:cubicBezTo>
                  <a:lnTo>
                    <a:pt x="390083" y="788674"/>
                  </a:lnTo>
                  <a:cubicBezTo>
                    <a:pt x="188099" y="575752"/>
                    <a:pt x="48349" y="303137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41CDDE5D-08B8-784F-9BFD-AC2F2D1C3F64}"/>
                </a:ext>
              </a:extLst>
            </p:cNvPr>
            <p:cNvSpPr/>
            <p:nvPr/>
          </p:nvSpPr>
          <p:spPr>
            <a:xfrm>
              <a:off x="13083669" y="3958294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19CA0D89-92A2-F945-986A-01F45B2F2EFB}"/>
                </a:ext>
              </a:extLst>
            </p:cNvPr>
            <p:cNvSpPr/>
            <p:nvPr/>
          </p:nvSpPr>
          <p:spPr>
            <a:xfrm>
              <a:off x="13968716" y="3958294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D155803-322D-C541-8318-4701F3525F24}"/>
                </a:ext>
              </a:extLst>
            </p:cNvPr>
            <p:cNvSpPr/>
            <p:nvPr/>
          </p:nvSpPr>
          <p:spPr>
            <a:xfrm>
              <a:off x="14853745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E2BA5EC4-4BE7-864A-8A80-AFF07A3CF6F4}"/>
                </a:ext>
              </a:extLst>
            </p:cNvPr>
            <p:cNvSpPr/>
            <p:nvPr/>
          </p:nvSpPr>
          <p:spPr>
            <a:xfrm>
              <a:off x="15738807" y="3958294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4DD1A0D7-1212-3F41-87AD-05611F7A48CE}"/>
                </a:ext>
              </a:extLst>
            </p:cNvPr>
            <p:cNvSpPr/>
            <p:nvPr/>
          </p:nvSpPr>
          <p:spPr>
            <a:xfrm>
              <a:off x="13083669" y="4746968"/>
              <a:ext cx="610934" cy="788664"/>
            </a:xfrm>
            <a:custGeom>
              <a:avLst/>
              <a:gdLst>
                <a:gd name="connsiteX0" fmla="*/ 153719 w 610934"/>
                <a:gd name="connsiteY0" fmla="*/ 0 h 788664"/>
                <a:gd name="connsiteX1" fmla="*/ 610935 w 610934"/>
                <a:gd name="connsiteY1" fmla="*/ 788665 h 788664"/>
                <a:gd name="connsiteX2" fmla="*/ 390077 w 610934"/>
                <a:gd name="connsiteY2" fmla="*/ 788665 h 788664"/>
                <a:gd name="connsiteX3" fmla="*/ 0 w 610934"/>
                <a:gd name="connsiteY3" fmla="*/ 0 h 788664"/>
                <a:gd name="connsiteX4" fmla="*/ 153719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19" y="0"/>
                  </a:moveTo>
                  <a:cubicBezTo>
                    <a:pt x="209853" y="314767"/>
                    <a:pt x="375998" y="591408"/>
                    <a:pt x="610935" y="788665"/>
                  </a:cubicBezTo>
                  <a:lnTo>
                    <a:pt x="390077" y="788665"/>
                  </a:lnTo>
                  <a:cubicBezTo>
                    <a:pt x="188097" y="575752"/>
                    <a:pt x="48350" y="303128"/>
                    <a:pt x="0" y="0"/>
                  </a:cubicBezTo>
                  <a:lnTo>
                    <a:pt x="153719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B37B78C0-5F67-924D-9EAD-442718D2620A}"/>
                </a:ext>
              </a:extLst>
            </p:cNvPr>
            <p:cNvSpPr/>
            <p:nvPr/>
          </p:nvSpPr>
          <p:spPr>
            <a:xfrm>
              <a:off x="13968716" y="4746968"/>
              <a:ext cx="610930" cy="788664"/>
            </a:xfrm>
            <a:custGeom>
              <a:avLst/>
              <a:gdLst>
                <a:gd name="connsiteX0" fmla="*/ 153716 w 610930"/>
                <a:gd name="connsiteY0" fmla="*/ 0 h 788664"/>
                <a:gd name="connsiteX1" fmla="*/ 610930 w 610930"/>
                <a:gd name="connsiteY1" fmla="*/ 788665 h 788664"/>
                <a:gd name="connsiteX2" fmla="*/ 390078 w 610930"/>
                <a:gd name="connsiteY2" fmla="*/ 788665 h 788664"/>
                <a:gd name="connsiteX3" fmla="*/ 0 w 610930"/>
                <a:gd name="connsiteY3" fmla="*/ 0 h 788664"/>
                <a:gd name="connsiteX4" fmla="*/ 153716 w 610930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0" h="788664">
                  <a:moveTo>
                    <a:pt x="153716" y="0"/>
                  </a:moveTo>
                  <a:cubicBezTo>
                    <a:pt x="209853" y="314767"/>
                    <a:pt x="375994" y="591408"/>
                    <a:pt x="610930" y="788665"/>
                  </a:cubicBezTo>
                  <a:lnTo>
                    <a:pt x="390078" y="788665"/>
                  </a:lnTo>
                  <a:cubicBezTo>
                    <a:pt x="188095" y="575752"/>
                    <a:pt x="48349" y="303128"/>
                    <a:pt x="0" y="0"/>
                  </a:cubicBezTo>
                  <a:lnTo>
                    <a:pt x="153716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C7804E57-5157-7347-BFDA-6E6877B9A6EC}"/>
                </a:ext>
              </a:extLst>
            </p:cNvPr>
            <p:cNvSpPr/>
            <p:nvPr/>
          </p:nvSpPr>
          <p:spPr>
            <a:xfrm>
              <a:off x="14853745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74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49" y="314767"/>
                    <a:pt x="375999" y="591408"/>
                    <a:pt x="610935" y="788665"/>
                  </a:cubicBezTo>
                  <a:lnTo>
                    <a:pt x="390074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1EEA9B67-B6F5-E046-8933-B85225549161}"/>
                </a:ext>
              </a:extLst>
            </p:cNvPr>
            <p:cNvSpPr/>
            <p:nvPr/>
          </p:nvSpPr>
          <p:spPr>
            <a:xfrm>
              <a:off x="15738807" y="4746968"/>
              <a:ext cx="610934" cy="788664"/>
            </a:xfrm>
            <a:custGeom>
              <a:avLst/>
              <a:gdLst>
                <a:gd name="connsiteX0" fmla="*/ 153720 w 610934"/>
                <a:gd name="connsiteY0" fmla="*/ 0 h 788664"/>
                <a:gd name="connsiteX1" fmla="*/ 610935 w 610934"/>
                <a:gd name="connsiteY1" fmla="*/ 788665 h 788664"/>
                <a:gd name="connsiteX2" fmla="*/ 390083 w 610934"/>
                <a:gd name="connsiteY2" fmla="*/ 788665 h 788664"/>
                <a:gd name="connsiteX3" fmla="*/ 0 w 610934"/>
                <a:gd name="connsiteY3" fmla="*/ 0 h 788664"/>
                <a:gd name="connsiteX4" fmla="*/ 153720 w 610934"/>
                <a:gd name="connsiteY4" fmla="*/ 0 h 78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934" h="788664">
                  <a:moveTo>
                    <a:pt x="153720" y="0"/>
                  </a:moveTo>
                  <a:cubicBezTo>
                    <a:pt x="209858" y="314767"/>
                    <a:pt x="375999" y="591408"/>
                    <a:pt x="610935" y="788665"/>
                  </a:cubicBezTo>
                  <a:lnTo>
                    <a:pt x="390083" y="788665"/>
                  </a:lnTo>
                  <a:cubicBezTo>
                    <a:pt x="188099" y="575752"/>
                    <a:pt x="48349" y="303128"/>
                    <a:pt x="0" y="0"/>
                  </a:cubicBezTo>
                  <a:lnTo>
                    <a:pt x="153720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682376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468BC43-A0EA-2640-92C8-A83C3C0DB36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58813" y="1773238"/>
            <a:ext cx="10874375" cy="4447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C137E7F-40AD-5149-98E4-38551143E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C18D3D36-B394-FA4D-A40B-0FEB3D5AF7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7922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2 строки +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93BEACB4-8163-3E40-BF64-24FF99F4889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11901" y="692150"/>
            <a:ext cx="5208586" cy="55451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61399616-6E49-8E44-8C89-A3666C96B1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3" y="2040889"/>
            <a:ext cx="5424487" cy="41598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3AF0A0D2-84CC-344E-B015-430C5FC9DA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9A971A-57C4-6343-8BDB-405151F30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1718613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2">
            <a:extLst>
              <a:ext uri="{FF2B5EF4-FFF2-40B4-BE49-F238E27FC236}">
                <a16:creationId xmlns:a16="http://schemas.microsoft.com/office/drawing/2014/main" id="{A9426BBD-A776-444D-B36C-4238DF4DCB3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77334" y="1773238"/>
            <a:ext cx="5317065" cy="4427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CB2A238B-52D5-314D-828E-2A8FE49A990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197604" y="1773238"/>
            <a:ext cx="5317062" cy="4427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B14F15-239B-C248-A014-C6BD3EB2E9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0" name="Нижний колонтитул 2">
            <a:extLst>
              <a:ext uri="{FF2B5EF4-FFF2-40B4-BE49-F238E27FC236}">
                <a16:creationId xmlns:a16="http://schemas.microsoft.com/office/drawing/2014/main" id="{9B37AD88-5570-DA46-8C1C-B8ED3572A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7941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2">
            <a:extLst>
              <a:ext uri="{FF2B5EF4-FFF2-40B4-BE49-F238E27FC236}">
                <a16:creationId xmlns:a16="http://schemas.microsoft.com/office/drawing/2014/main" id="{2122BA3E-4A40-5E4B-BD71-5F8C8E5AA3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0" y="692151"/>
            <a:ext cx="5437188" cy="5508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23DAE1-F094-1A41-AC85-CC27A7847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165527" cy="64424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3FF5B35A-DAF3-3E4F-A984-4FE261073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5225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">
            <a:extLst>
              <a:ext uri="{FF2B5EF4-FFF2-40B4-BE49-F238E27FC236}">
                <a16:creationId xmlns:a16="http://schemas.microsoft.com/office/drawing/2014/main" id="{CE65941D-C389-5B4D-A763-47A56D7D50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334" y="1773238"/>
            <a:ext cx="5304365" cy="4427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2122BA3E-4A40-5E4B-BD71-5F8C8E5AA3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8824" y="1773239"/>
            <a:ext cx="5304364" cy="4427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23DAE1-F094-1A41-AC85-CC27A7847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3FF5B35A-DAF3-3E4F-A984-4FE261073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07205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актои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7D528D5E-3BE6-8334-3246-988128C558BE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tx2"/>
          </a:solidFill>
        </p:grpSpPr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6FE0ED83-FF49-42BF-ED94-843F6531B12E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1025B1CF-02BE-3F32-2389-A89AA12FA076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38409062-21BC-2632-4C07-D10806544C39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30807175-A027-A3BE-0DD7-DFD604AE9EC6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7070CEFA-320B-6CC0-D0BD-1052AE615E7E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DE9AE618-0CF0-8CA8-2AF0-B274DC7466C7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CABFB45E-FF7A-42F6-94A2-6D8FE53C4268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DCE8A6B2-B4AE-6D2F-8FF7-9AA9FE2E72DD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C351D055-6FB2-85E0-A61D-3636EDA96D29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0D5F65EA-35A2-B99E-1980-2A71DE8EBC77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79537CE2-04DE-EA8F-C38D-5629A63BFC89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649715DF-B6FC-E811-F8B1-86471E68D8EC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76115344-8B09-B6A9-6FA0-E54242E23C37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285BDF54-418D-599A-114D-4CA8B8AA3960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B8E150A3-E9BE-CB1D-90A5-458408F27FCD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9FE6B2D3-BCC3-BE9C-07FD-4F17651861C5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577F7EB3-4BA2-C78B-7C8A-BA546B51BB69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3BB4A21A-19FD-D53C-C952-C1E96F096EC2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11B67161-9F7B-C40B-5283-948906C62C26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5B95E61C-8146-F54C-8830-8A6E0089DE72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2" name="Текст 8">
            <a:extLst>
              <a:ext uri="{FF2B5EF4-FFF2-40B4-BE49-F238E27FC236}">
                <a16:creationId xmlns:a16="http://schemas.microsoft.com/office/drawing/2014/main" id="{138EA146-EFC4-BC46-B652-2B6E60138A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813" y="4363180"/>
            <a:ext cx="10224000" cy="5252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24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ACBEC698-5D83-A94F-A145-EFF18FED9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E106DC70-DE67-F141-BF3F-4BA1D1F1C1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1773238"/>
            <a:ext cx="10223999" cy="24070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700" b="1" i="0">
                <a:solidFill>
                  <a:schemeClr val="tx1"/>
                </a:solidFill>
                <a:latin typeface="VK Sans Display DemiBold" pitchFamily="2" charset="0"/>
              </a:defRPr>
            </a:lvl1pPr>
            <a:lvl2pPr>
              <a:defRPr sz="18000">
                <a:latin typeface="TT Commons" pitchFamily="2" charset="-52"/>
              </a:defRPr>
            </a:lvl2pPr>
            <a:lvl3pPr>
              <a:defRPr sz="18000">
                <a:latin typeface="TT Commons" pitchFamily="2" charset="-52"/>
              </a:defRPr>
            </a:lvl3pPr>
            <a:lvl4pPr>
              <a:defRPr sz="18000">
                <a:latin typeface="TT Commons" pitchFamily="2" charset="-52"/>
              </a:defRPr>
            </a:lvl4pPr>
            <a:lvl5pPr>
              <a:defRPr sz="18000">
                <a:latin typeface="TT Commons" pitchFamily="2" charset="-52"/>
              </a:defRPr>
            </a:lvl5pPr>
          </a:lstStyle>
          <a:p>
            <a:pPr lvl="0"/>
            <a:r>
              <a:rPr lang="ru-RU" dirty="0"/>
              <a:t>70 МЛН</a:t>
            </a:r>
          </a:p>
        </p:txBody>
      </p:sp>
    </p:spTree>
    <p:extLst>
      <p:ext uri="{BB962C8B-B14F-4D97-AF65-F5344CB8AC3E}">
        <p14:creationId xmlns:p14="http://schemas.microsoft.com/office/powerpoint/2010/main" val="174917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фактои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B944C61-111D-4A5C-A99C-DC3F4AB6485C}"/>
              </a:ext>
            </a:extLst>
          </p:cNvPr>
          <p:cNvGrpSpPr/>
          <p:nvPr userDrawn="1"/>
        </p:nvGrpSpPr>
        <p:grpSpPr>
          <a:xfrm>
            <a:off x="7156015" y="0"/>
            <a:ext cx="5016892" cy="6858000"/>
            <a:chOff x="7127683" y="0"/>
            <a:chExt cx="5045224" cy="6896730"/>
          </a:xfrm>
          <a:solidFill>
            <a:schemeClr val="tx2"/>
          </a:solidFill>
        </p:grpSpPr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0B067637-9874-1FA1-4501-61A76F355ECE}"/>
                </a:ext>
              </a:extLst>
            </p:cNvPr>
            <p:cNvSpPr/>
            <p:nvPr/>
          </p:nvSpPr>
          <p:spPr>
            <a:xfrm>
              <a:off x="7127683" y="0"/>
              <a:ext cx="1181730" cy="1379149"/>
            </a:xfrm>
            <a:custGeom>
              <a:avLst/>
              <a:gdLst>
                <a:gd name="connsiteX0" fmla="*/ 301638 w 675557"/>
                <a:gd name="connsiteY0" fmla="*/ 0 h 788415"/>
                <a:gd name="connsiteX1" fmla="*/ 675557 w 675557"/>
                <a:gd name="connsiteY1" fmla="*/ 788415 h 788415"/>
                <a:gd name="connsiteX2" fmla="*/ 301650 w 675557"/>
                <a:gd name="connsiteY2" fmla="*/ 788415 h 788415"/>
                <a:gd name="connsiteX3" fmla="*/ 0 w 675557"/>
                <a:gd name="connsiteY3" fmla="*/ 0 h 788415"/>
                <a:gd name="connsiteX4" fmla="*/ 301638 w 675557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5">
                  <a:moveTo>
                    <a:pt x="301638" y="0"/>
                  </a:moveTo>
                  <a:cubicBezTo>
                    <a:pt x="353326" y="298239"/>
                    <a:pt x="485738" y="568815"/>
                    <a:pt x="675557" y="788415"/>
                  </a:cubicBezTo>
                  <a:lnTo>
                    <a:pt x="301650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E1D243BD-2069-7ED3-B8A5-F7A84EEB1700}"/>
                </a:ext>
              </a:extLst>
            </p:cNvPr>
            <p:cNvSpPr/>
            <p:nvPr/>
          </p:nvSpPr>
          <p:spPr>
            <a:xfrm>
              <a:off x="7127683" y="1379410"/>
              <a:ext cx="1181730" cy="1379144"/>
            </a:xfrm>
            <a:custGeom>
              <a:avLst/>
              <a:gdLst>
                <a:gd name="connsiteX0" fmla="*/ 301638 w 675557"/>
                <a:gd name="connsiteY0" fmla="*/ 0 h 788412"/>
                <a:gd name="connsiteX1" fmla="*/ 675557 w 675557"/>
                <a:gd name="connsiteY1" fmla="*/ 788413 h 788412"/>
                <a:gd name="connsiteX2" fmla="*/ 301650 w 675557"/>
                <a:gd name="connsiteY2" fmla="*/ 788413 h 788412"/>
                <a:gd name="connsiteX3" fmla="*/ 0 w 675557"/>
                <a:gd name="connsiteY3" fmla="*/ 0 h 788412"/>
                <a:gd name="connsiteX4" fmla="*/ 301638 w 675557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2">
                  <a:moveTo>
                    <a:pt x="301638" y="0"/>
                  </a:moveTo>
                  <a:cubicBezTo>
                    <a:pt x="353326" y="298240"/>
                    <a:pt x="485738" y="568819"/>
                    <a:pt x="675557" y="788413"/>
                  </a:cubicBezTo>
                  <a:lnTo>
                    <a:pt x="301650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7506A11F-C5CC-8DDC-6226-744E6E60BA92}"/>
                </a:ext>
              </a:extLst>
            </p:cNvPr>
            <p:cNvSpPr/>
            <p:nvPr/>
          </p:nvSpPr>
          <p:spPr>
            <a:xfrm>
              <a:off x="7127683" y="275875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033D9057-2F57-64B7-15DD-9666E597DB67}"/>
                </a:ext>
              </a:extLst>
            </p:cNvPr>
            <p:cNvSpPr/>
            <p:nvPr/>
          </p:nvSpPr>
          <p:spPr>
            <a:xfrm>
              <a:off x="7127683" y="4138225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45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6D3921C3-7297-8DCF-0C3E-0DCB67D959BD}"/>
                </a:ext>
              </a:extLst>
            </p:cNvPr>
            <p:cNvSpPr/>
            <p:nvPr/>
          </p:nvSpPr>
          <p:spPr>
            <a:xfrm>
              <a:off x="7127683" y="5517577"/>
              <a:ext cx="1181730" cy="1379153"/>
            </a:xfrm>
            <a:custGeom>
              <a:avLst/>
              <a:gdLst>
                <a:gd name="connsiteX0" fmla="*/ 301638 w 675557"/>
                <a:gd name="connsiteY0" fmla="*/ 0 h 788417"/>
                <a:gd name="connsiteX1" fmla="*/ 675557 w 675557"/>
                <a:gd name="connsiteY1" fmla="*/ 788417 h 788417"/>
                <a:gd name="connsiteX2" fmla="*/ 301650 w 675557"/>
                <a:gd name="connsiteY2" fmla="*/ 788417 h 788417"/>
                <a:gd name="connsiteX3" fmla="*/ 0 w 675557"/>
                <a:gd name="connsiteY3" fmla="*/ 0 h 788417"/>
                <a:gd name="connsiteX4" fmla="*/ 301638 w 675557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7" h="788417">
                  <a:moveTo>
                    <a:pt x="301638" y="0"/>
                  </a:moveTo>
                  <a:cubicBezTo>
                    <a:pt x="353326" y="298236"/>
                    <a:pt x="485738" y="568814"/>
                    <a:pt x="675557" y="788417"/>
                  </a:cubicBezTo>
                  <a:lnTo>
                    <a:pt x="301650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D8490FBE-966F-46B9-1599-CF793AD91701}"/>
                </a:ext>
              </a:extLst>
            </p:cNvPr>
            <p:cNvSpPr/>
            <p:nvPr/>
          </p:nvSpPr>
          <p:spPr>
            <a:xfrm>
              <a:off x="8415451" y="0"/>
              <a:ext cx="1181725" cy="1379149"/>
            </a:xfrm>
            <a:custGeom>
              <a:avLst/>
              <a:gdLst>
                <a:gd name="connsiteX0" fmla="*/ 301641 w 675554"/>
                <a:gd name="connsiteY0" fmla="*/ 0 h 788415"/>
                <a:gd name="connsiteX1" fmla="*/ 675554 w 675554"/>
                <a:gd name="connsiteY1" fmla="*/ 788415 h 788415"/>
                <a:gd name="connsiteX2" fmla="*/ 301651 w 675554"/>
                <a:gd name="connsiteY2" fmla="*/ 788415 h 788415"/>
                <a:gd name="connsiteX3" fmla="*/ 0 w 675554"/>
                <a:gd name="connsiteY3" fmla="*/ 0 h 788415"/>
                <a:gd name="connsiteX4" fmla="*/ 301641 w 675554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5">
                  <a:moveTo>
                    <a:pt x="301641" y="0"/>
                  </a:moveTo>
                  <a:cubicBezTo>
                    <a:pt x="353325" y="298239"/>
                    <a:pt x="485737" y="568815"/>
                    <a:pt x="675554" y="788415"/>
                  </a:cubicBezTo>
                  <a:lnTo>
                    <a:pt x="301651" y="788415"/>
                  </a:lnTo>
                  <a:cubicBezTo>
                    <a:pt x="147106" y="556027"/>
                    <a:pt x="42027" y="288326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F4831897-0D13-E217-7659-2B7CE808BEB2}"/>
                </a:ext>
              </a:extLst>
            </p:cNvPr>
            <p:cNvSpPr/>
            <p:nvPr/>
          </p:nvSpPr>
          <p:spPr>
            <a:xfrm>
              <a:off x="8415451" y="1379410"/>
              <a:ext cx="1181725" cy="1379144"/>
            </a:xfrm>
            <a:custGeom>
              <a:avLst/>
              <a:gdLst>
                <a:gd name="connsiteX0" fmla="*/ 301641 w 675554"/>
                <a:gd name="connsiteY0" fmla="*/ 0 h 788412"/>
                <a:gd name="connsiteX1" fmla="*/ 675554 w 675554"/>
                <a:gd name="connsiteY1" fmla="*/ 788413 h 788412"/>
                <a:gd name="connsiteX2" fmla="*/ 301651 w 675554"/>
                <a:gd name="connsiteY2" fmla="*/ 788413 h 788412"/>
                <a:gd name="connsiteX3" fmla="*/ 0 w 675554"/>
                <a:gd name="connsiteY3" fmla="*/ 0 h 788412"/>
                <a:gd name="connsiteX4" fmla="*/ 301641 w 675554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2">
                  <a:moveTo>
                    <a:pt x="301641" y="0"/>
                  </a:moveTo>
                  <a:cubicBezTo>
                    <a:pt x="353325" y="298240"/>
                    <a:pt x="485737" y="568819"/>
                    <a:pt x="675554" y="788413"/>
                  </a:cubicBezTo>
                  <a:lnTo>
                    <a:pt x="301651" y="788413"/>
                  </a:lnTo>
                  <a:cubicBezTo>
                    <a:pt x="147106" y="556027"/>
                    <a:pt x="42027" y="288323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F0759491-F98B-C448-3521-5C355735A0AA}"/>
                </a:ext>
              </a:extLst>
            </p:cNvPr>
            <p:cNvSpPr/>
            <p:nvPr/>
          </p:nvSpPr>
          <p:spPr>
            <a:xfrm>
              <a:off x="8415451" y="275875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5A9B28C5-8B09-D2AB-06A5-66B7C9A47A96}"/>
                </a:ext>
              </a:extLst>
            </p:cNvPr>
            <p:cNvSpPr/>
            <p:nvPr/>
          </p:nvSpPr>
          <p:spPr>
            <a:xfrm>
              <a:off x="8415451" y="4138225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45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32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F7219B22-52FB-CF1F-F679-7BFF82654205}"/>
                </a:ext>
              </a:extLst>
            </p:cNvPr>
            <p:cNvSpPr/>
            <p:nvPr/>
          </p:nvSpPr>
          <p:spPr>
            <a:xfrm>
              <a:off x="8415451" y="5517577"/>
              <a:ext cx="1181725" cy="1379153"/>
            </a:xfrm>
            <a:custGeom>
              <a:avLst/>
              <a:gdLst>
                <a:gd name="connsiteX0" fmla="*/ 301641 w 675554"/>
                <a:gd name="connsiteY0" fmla="*/ 0 h 788417"/>
                <a:gd name="connsiteX1" fmla="*/ 675554 w 675554"/>
                <a:gd name="connsiteY1" fmla="*/ 788417 h 788417"/>
                <a:gd name="connsiteX2" fmla="*/ 301651 w 675554"/>
                <a:gd name="connsiteY2" fmla="*/ 788417 h 788417"/>
                <a:gd name="connsiteX3" fmla="*/ 0 w 675554"/>
                <a:gd name="connsiteY3" fmla="*/ 0 h 788417"/>
                <a:gd name="connsiteX4" fmla="*/ 301641 w 675554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4" h="788417">
                  <a:moveTo>
                    <a:pt x="301641" y="0"/>
                  </a:moveTo>
                  <a:cubicBezTo>
                    <a:pt x="353325" y="298236"/>
                    <a:pt x="485737" y="568814"/>
                    <a:pt x="675554" y="788417"/>
                  </a:cubicBezTo>
                  <a:lnTo>
                    <a:pt x="301651" y="788417"/>
                  </a:lnTo>
                  <a:cubicBezTo>
                    <a:pt x="147106" y="556023"/>
                    <a:pt x="42027" y="288328"/>
                    <a:pt x="0" y="0"/>
                  </a:cubicBezTo>
                  <a:lnTo>
                    <a:pt x="301641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03821265-B762-6815-826E-FD9EFAB99391}"/>
                </a:ext>
              </a:extLst>
            </p:cNvPr>
            <p:cNvSpPr/>
            <p:nvPr/>
          </p:nvSpPr>
          <p:spPr>
            <a:xfrm>
              <a:off x="9703321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1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1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0E249282-5C8A-0C4E-EC84-0A22659E0301}"/>
                </a:ext>
              </a:extLst>
            </p:cNvPr>
            <p:cNvSpPr/>
            <p:nvPr/>
          </p:nvSpPr>
          <p:spPr>
            <a:xfrm>
              <a:off x="9703321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1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1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D1E80D39-CB68-74B9-D47A-5F005A9751DA}"/>
                </a:ext>
              </a:extLst>
            </p:cNvPr>
            <p:cNvSpPr/>
            <p:nvPr/>
          </p:nvSpPr>
          <p:spPr>
            <a:xfrm>
              <a:off x="9703321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25EE579C-CC55-DBCF-616C-185CB6D5F1D2}"/>
                </a:ext>
              </a:extLst>
            </p:cNvPr>
            <p:cNvSpPr/>
            <p:nvPr/>
          </p:nvSpPr>
          <p:spPr>
            <a:xfrm>
              <a:off x="9703321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3FCA1AE8-F127-5A43-4CF1-D0DE90F78B83}"/>
                </a:ext>
              </a:extLst>
            </p:cNvPr>
            <p:cNvSpPr/>
            <p:nvPr/>
          </p:nvSpPr>
          <p:spPr>
            <a:xfrm>
              <a:off x="9703321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1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1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8D94D3D2-F2D7-B183-223C-F40344AEF72F}"/>
                </a:ext>
              </a:extLst>
            </p:cNvPr>
            <p:cNvSpPr/>
            <p:nvPr/>
          </p:nvSpPr>
          <p:spPr>
            <a:xfrm>
              <a:off x="10991187" y="0"/>
              <a:ext cx="1181720" cy="1379149"/>
            </a:xfrm>
            <a:custGeom>
              <a:avLst/>
              <a:gdLst>
                <a:gd name="connsiteX0" fmla="*/ 301638 w 675551"/>
                <a:gd name="connsiteY0" fmla="*/ 0 h 788415"/>
                <a:gd name="connsiteX1" fmla="*/ 675552 w 675551"/>
                <a:gd name="connsiteY1" fmla="*/ 788415 h 788415"/>
                <a:gd name="connsiteX2" fmla="*/ 301648 w 675551"/>
                <a:gd name="connsiteY2" fmla="*/ 788415 h 788415"/>
                <a:gd name="connsiteX3" fmla="*/ 0 w 675551"/>
                <a:gd name="connsiteY3" fmla="*/ 0 h 788415"/>
                <a:gd name="connsiteX4" fmla="*/ 301638 w 675551"/>
                <a:gd name="connsiteY4" fmla="*/ 0 h 78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5">
                  <a:moveTo>
                    <a:pt x="301638" y="0"/>
                  </a:moveTo>
                  <a:cubicBezTo>
                    <a:pt x="353322" y="298239"/>
                    <a:pt x="485734" y="568815"/>
                    <a:pt x="675552" y="788415"/>
                  </a:cubicBezTo>
                  <a:lnTo>
                    <a:pt x="301648" y="788415"/>
                  </a:lnTo>
                  <a:cubicBezTo>
                    <a:pt x="147102" y="556027"/>
                    <a:pt x="42021" y="288326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24750039-8975-D385-3756-3958A017A17D}"/>
                </a:ext>
              </a:extLst>
            </p:cNvPr>
            <p:cNvSpPr/>
            <p:nvPr/>
          </p:nvSpPr>
          <p:spPr>
            <a:xfrm>
              <a:off x="10991187" y="1379410"/>
              <a:ext cx="1181720" cy="1379144"/>
            </a:xfrm>
            <a:custGeom>
              <a:avLst/>
              <a:gdLst>
                <a:gd name="connsiteX0" fmla="*/ 301638 w 675551"/>
                <a:gd name="connsiteY0" fmla="*/ 0 h 788412"/>
                <a:gd name="connsiteX1" fmla="*/ 675552 w 675551"/>
                <a:gd name="connsiteY1" fmla="*/ 788413 h 788412"/>
                <a:gd name="connsiteX2" fmla="*/ 301648 w 675551"/>
                <a:gd name="connsiteY2" fmla="*/ 788413 h 788412"/>
                <a:gd name="connsiteX3" fmla="*/ 0 w 675551"/>
                <a:gd name="connsiteY3" fmla="*/ 0 h 788412"/>
                <a:gd name="connsiteX4" fmla="*/ 301638 w 675551"/>
                <a:gd name="connsiteY4" fmla="*/ 0 h 788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2">
                  <a:moveTo>
                    <a:pt x="301638" y="0"/>
                  </a:moveTo>
                  <a:cubicBezTo>
                    <a:pt x="353322" y="298240"/>
                    <a:pt x="485734" y="568819"/>
                    <a:pt x="675552" y="788413"/>
                  </a:cubicBezTo>
                  <a:lnTo>
                    <a:pt x="301648" y="788413"/>
                  </a:lnTo>
                  <a:cubicBezTo>
                    <a:pt x="147102" y="556027"/>
                    <a:pt x="42021" y="288323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C0C0C657-D45F-159C-97D9-94BC1DC1667C}"/>
                </a:ext>
              </a:extLst>
            </p:cNvPr>
            <p:cNvSpPr/>
            <p:nvPr/>
          </p:nvSpPr>
          <p:spPr>
            <a:xfrm>
              <a:off x="10991187" y="275875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365A4A85-31AC-876C-1F08-17CE8FA3A3AB}"/>
                </a:ext>
              </a:extLst>
            </p:cNvPr>
            <p:cNvSpPr/>
            <p:nvPr/>
          </p:nvSpPr>
          <p:spPr>
            <a:xfrm>
              <a:off x="10991187" y="4138225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45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32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948B54E4-B652-B875-B41E-C687159F521E}"/>
                </a:ext>
              </a:extLst>
            </p:cNvPr>
            <p:cNvSpPr/>
            <p:nvPr/>
          </p:nvSpPr>
          <p:spPr>
            <a:xfrm>
              <a:off x="10991187" y="5517577"/>
              <a:ext cx="1181720" cy="1379153"/>
            </a:xfrm>
            <a:custGeom>
              <a:avLst/>
              <a:gdLst>
                <a:gd name="connsiteX0" fmla="*/ 301638 w 675551"/>
                <a:gd name="connsiteY0" fmla="*/ 0 h 788417"/>
                <a:gd name="connsiteX1" fmla="*/ 675552 w 675551"/>
                <a:gd name="connsiteY1" fmla="*/ 788417 h 788417"/>
                <a:gd name="connsiteX2" fmla="*/ 301648 w 675551"/>
                <a:gd name="connsiteY2" fmla="*/ 788417 h 788417"/>
                <a:gd name="connsiteX3" fmla="*/ 0 w 675551"/>
                <a:gd name="connsiteY3" fmla="*/ 0 h 788417"/>
                <a:gd name="connsiteX4" fmla="*/ 301638 w 675551"/>
                <a:gd name="connsiteY4" fmla="*/ 0 h 78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551" h="788417">
                  <a:moveTo>
                    <a:pt x="301638" y="0"/>
                  </a:moveTo>
                  <a:cubicBezTo>
                    <a:pt x="353322" y="298236"/>
                    <a:pt x="485734" y="568814"/>
                    <a:pt x="675552" y="788417"/>
                  </a:cubicBezTo>
                  <a:lnTo>
                    <a:pt x="301648" y="788417"/>
                  </a:lnTo>
                  <a:cubicBezTo>
                    <a:pt x="147102" y="556023"/>
                    <a:pt x="42021" y="288328"/>
                    <a:pt x="0" y="0"/>
                  </a:cubicBezTo>
                  <a:lnTo>
                    <a:pt x="301638" y="0"/>
                  </a:lnTo>
                  <a:close/>
                </a:path>
              </a:pathLst>
            </a:custGeom>
            <a:grpFill/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" name="Текст 3">
            <a:extLst>
              <a:ext uri="{FF2B5EF4-FFF2-40B4-BE49-F238E27FC236}">
                <a16:creationId xmlns:a16="http://schemas.microsoft.com/office/drawing/2014/main" id="{F7EAD2F7-5211-8640-B7E3-216463581D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853" y="3878709"/>
            <a:ext cx="8131144" cy="1767119"/>
          </a:xfrm>
          <a:prstGeom prst="rect">
            <a:avLst/>
          </a:prstGeom>
        </p:spPr>
        <p:txBody>
          <a:bodyPr lIns="0" t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15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8" name="Текст 34">
            <a:extLst>
              <a:ext uri="{FF2B5EF4-FFF2-40B4-BE49-F238E27FC236}">
                <a16:creationId xmlns:a16="http://schemas.microsoft.com/office/drawing/2014/main" id="{275431F4-A8EB-C14C-8D63-F3CF1DEBF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2852" y="5715426"/>
            <a:ext cx="8131144" cy="4853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24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7E3A65D9-9480-5442-AA8E-A0C6FD91245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1514" y="1045518"/>
            <a:ext cx="8131144" cy="1767119"/>
          </a:xfrm>
          <a:prstGeom prst="rect">
            <a:avLst/>
          </a:prstGeom>
        </p:spPr>
        <p:txBody>
          <a:bodyPr lIns="0" t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15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Текст 34">
            <a:extLst>
              <a:ext uri="{FF2B5EF4-FFF2-40B4-BE49-F238E27FC236}">
                <a16:creationId xmlns:a16="http://schemas.microsoft.com/office/drawing/2014/main" id="{50A7AAC4-BD42-4F48-B29C-562325155CB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1513" y="2882235"/>
            <a:ext cx="8131144" cy="4853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24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0" name="Нижний колонтитул 2">
            <a:extLst>
              <a:ext uri="{FF2B5EF4-FFF2-40B4-BE49-F238E27FC236}">
                <a16:creationId xmlns:a16="http://schemas.microsoft.com/office/drawing/2014/main" id="{9FD49CA2-9CEC-FD4D-A162-B7A2D2E270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4276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фактоид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>
            <a:extLst>
              <a:ext uri="{FF2B5EF4-FFF2-40B4-BE49-F238E27FC236}">
                <a16:creationId xmlns:a16="http://schemas.microsoft.com/office/drawing/2014/main" id="{598F9B43-B4FF-604A-856B-6F166A2798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1773238"/>
            <a:ext cx="5135728" cy="4427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99FF0FDE-D0C3-104B-96FD-AC1E14EC8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10855854" cy="64424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5" name="Нижний колонтитул 2">
            <a:extLst>
              <a:ext uri="{FF2B5EF4-FFF2-40B4-BE49-F238E27FC236}">
                <a16:creationId xmlns:a16="http://schemas.microsoft.com/office/drawing/2014/main" id="{01A28A39-3502-FF4D-9D08-FCEB0174D4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75179072-2D34-6C4A-8FD4-F04D3A0FA4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7339" y="3864033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Текст 34">
            <a:extLst>
              <a:ext uri="{FF2B5EF4-FFF2-40B4-BE49-F238E27FC236}">
                <a16:creationId xmlns:a16="http://schemas.microsoft.com/office/drawing/2014/main" id="{0BEFE399-95CA-7444-879C-F39DA5B8DF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7338" y="5058095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0" name="Текст 3">
            <a:extLst>
              <a:ext uri="{FF2B5EF4-FFF2-40B4-BE49-F238E27FC236}">
                <a16:creationId xmlns:a16="http://schemas.microsoft.com/office/drawing/2014/main" id="{069E1489-AF9B-9B41-852A-0C747395A03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0" y="1773238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55FDFEC3-4201-6A48-A41E-50C16F5CBF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0" y="2967300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9277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актои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ижний колонтитул 2">
            <a:extLst>
              <a:ext uri="{FF2B5EF4-FFF2-40B4-BE49-F238E27FC236}">
                <a16:creationId xmlns:a16="http://schemas.microsoft.com/office/drawing/2014/main" id="{CC560E50-F65F-D34C-9DA2-1AF7DACA0B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id="{9DE78278-6FD7-A541-8836-A712566C45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7339" y="3864033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34">
            <a:extLst>
              <a:ext uri="{FF2B5EF4-FFF2-40B4-BE49-F238E27FC236}">
                <a16:creationId xmlns:a16="http://schemas.microsoft.com/office/drawing/2014/main" id="{A8CA0E34-8A10-A842-B668-29DECF37D3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7338" y="5058095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E51FE869-5CD3-2643-B61B-81412402B7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0" y="1773238"/>
            <a:ext cx="5417327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34">
            <a:extLst>
              <a:ext uri="{FF2B5EF4-FFF2-40B4-BE49-F238E27FC236}">
                <a16:creationId xmlns:a16="http://schemas.microsoft.com/office/drawing/2014/main" id="{41B6C28E-C27C-E540-9FC3-68797F0F37B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0" y="2967300"/>
            <a:ext cx="5417327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99C1330-4D5D-1C47-ACEE-9517C4FCB7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0012" y="3864033"/>
            <a:ext cx="5239525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308124FC-6D74-4744-83CB-B1D802B3344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0011" y="5058095"/>
            <a:ext cx="5239525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id="{FF81206D-5CD2-F94C-910E-935B5F260B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673" y="1773238"/>
            <a:ext cx="5239525" cy="1080000"/>
          </a:xfrm>
          <a:prstGeom prst="rect">
            <a:avLst/>
          </a:prstGeom>
        </p:spPr>
        <p:txBody>
          <a:bodyPr lIns="0" t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8800" b="1" i="0">
                <a:solidFill>
                  <a:schemeClr val="tx1"/>
                </a:solidFill>
                <a:latin typeface="VK Sans Display DemiBold" pitchFamily="2" charset="0"/>
              </a:defRPr>
            </a:lvl1pPr>
          </a:lstStyle>
          <a:p>
            <a:pPr lvl="0"/>
            <a:r>
              <a:rPr lang="ru-RU" dirty="0"/>
              <a:t>140 МЛН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4" name="Текст 34">
            <a:extLst>
              <a:ext uri="{FF2B5EF4-FFF2-40B4-BE49-F238E27FC236}">
                <a16:creationId xmlns:a16="http://schemas.microsoft.com/office/drawing/2014/main" id="{D269ED19-FCBA-C046-93F1-0E630222B8F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673" y="2967300"/>
            <a:ext cx="5239525" cy="3566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73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актоид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4">
            <a:extLst>
              <a:ext uri="{FF2B5EF4-FFF2-40B4-BE49-F238E27FC236}">
                <a16:creationId xmlns:a16="http://schemas.microsoft.com/office/drawing/2014/main" id="{66C8302A-BF65-0F4D-9B62-9520B49215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5018" y="617220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18" name="Текст 34">
            <a:extLst>
              <a:ext uri="{FF2B5EF4-FFF2-40B4-BE49-F238E27FC236}">
                <a16:creationId xmlns:a16="http://schemas.microsoft.com/office/drawing/2014/main" id="{87F1DCF1-F07D-CA41-9067-50A97E91C1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5017" y="1620441"/>
            <a:ext cx="2779200" cy="4985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id="{4457AEB8-8272-6341-9E94-51663A50DD0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45018" y="2680786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417%</a:t>
            </a:r>
          </a:p>
        </p:txBody>
      </p:sp>
      <p:sp>
        <p:nvSpPr>
          <p:cNvPr id="20" name="Текст 34">
            <a:extLst>
              <a:ext uri="{FF2B5EF4-FFF2-40B4-BE49-F238E27FC236}">
                <a16:creationId xmlns:a16="http://schemas.microsoft.com/office/drawing/2014/main" id="{E1BAAD02-4AA3-904C-8576-4CD382C405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5017" y="3684008"/>
            <a:ext cx="2779200" cy="498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CF677041-6CDF-624E-A657-517EB8DEAD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24464" y="617220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898%</a:t>
            </a:r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14B49514-DF4C-E24E-92C6-03A177997E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24463" y="1620442"/>
            <a:ext cx="2779200" cy="498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3" name="Текст 4">
            <a:extLst>
              <a:ext uri="{FF2B5EF4-FFF2-40B4-BE49-F238E27FC236}">
                <a16:creationId xmlns:a16="http://schemas.microsoft.com/office/drawing/2014/main" id="{257586B4-BDF0-2347-9674-C4578BF712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24465" y="2680786"/>
            <a:ext cx="2779200" cy="924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698%</a:t>
            </a:r>
          </a:p>
        </p:txBody>
      </p:sp>
      <p:sp>
        <p:nvSpPr>
          <p:cNvPr id="24" name="Текст 34">
            <a:extLst>
              <a:ext uri="{FF2B5EF4-FFF2-40B4-BE49-F238E27FC236}">
                <a16:creationId xmlns:a16="http://schemas.microsoft.com/office/drawing/2014/main" id="{E25C2558-241E-2C49-9CEF-5C16B7CEF7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24463" y="3684008"/>
            <a:ext cx="2779200" cy="498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2" name="Текст 34">
            <a:extLst>
              <a:ext uri="{FF2B5EF4-FFF2-40B4-BE49-F238E27FC236}">
                <a16:creationId xmlns:a16="http://schemas.microsoft.com/office/drawing/2014/main" id="{A49FD218-5350-2B4E-86CE-B6A63EEF2D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8348" y="2495796"/>
            <a:ext cx="3384000" cy="1110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</a:p>
        </p:txBody>
      </p:sp>
      <p:sp>
        <p:nvSpPr>
          <p:cNvPr id="14" name="Нижний колонтитул 2">
            <a:extLst>
              <a:ext uri="{FF2B5EF4-FFF2-40B4-BE49-F238E27FC236}">
                <a16:creationId xmlns:a16="http://schemas.microsoft.com/office/drawing/2014/main" id="{A22F06EC-4FA5-3A40-AFD1-16BC39319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22F6104A-53A0-B043-9BB6-35D53B38E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3366029" cy="160187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400270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раздел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16153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актои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4">
            <a:extLst>
              <a:ext uri="{FF2B5EF4-FFF2-40B4-BE49-F238E27FC236}">
                <a16:creationId xmlns:a16="http://schemas.microsoft.com/office/drawing/2014/main" id="{00831EC7-EA82-FD41-A9E0-A22A0E0153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5020" y="617220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26" name="Текст 34">
            <a:extLst>
              <a:ext uri="{FF2B5EF4-FFF2-40B4-BE49-F238E27FC236}">
                <a16:creationId xmlns:a16="http://schemas.microsoft.com/office/drawing/2014/main" id="{E705B6C0-4359-034E-80DE-E3A2B83720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5020" y="145276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CCBD9900-17CC-E646-B050-F04823142E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75766" y="617220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96%</a:t>
            </a:r>
          </a:p>
        </p:txBody>
      </p:sp>
      <p:sp>
        <p:nvSpPr>
          <p:cNvPr id="28" name="Текст 34">
            <a:extLst>
              <a:ext uri="{FF2B5EF4-FFF2-40B4-BE49-F238E27FC236}">
                <a16:creationId xmlns:a16="http://schemas.microsoft.com/office/drawing/2014/main" id="{B4E7C76A-A9B0-7143-96AA-177476A1F3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5766" y="145276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id="{B4C54B2F-AB0D-B04C-8C8A-757F8656AB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5020" y="2293322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1%</a:t>
            </a:r>
          </a:p>
        </p:txBody>
      </p:sp>
      <p:sp>
        <p:nvSpPr>
          <p:cNvPr id="30" name="Текст 34">
            <a:extLst>
              <a:ext uri="{FF2B5EF4-FFF2-40B4-BE49-F238E27FC236}">
                <a16:creationId xmlns:a16="http://schemas.microsoft.com/office/drawing/2014/main" id="{2BC3E87B-2691-A24F-A916-280AD4B103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45020" y="3128871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1" name="Текст 4">
            <a:extLst>
              <a:ext uri="{FF2B5EF4-FFF2-40B4-BE49-F238E27FC236}">
                <a16:creationId xmlns:a16="http://schemas.microsoft.com/office/drawing/2014/main" id="{B3CA084A-762B-9B46-8B94-1927D613E63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766" y="2293322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19%</a:t>
            </a:r>
          </a:p>
        </p:txBody>
      </p:sp>
      <p:sp>
        <p:nvSpPr>
          <p:cNvPr id="32" name="Текст 34">
            <a:extLst>
              <a:ext uri="{FF2B5EF4-FFF2-40B4-BE49-F238E27FC236}">
                <a16:creationId xmlns:a16="http://schemas.microsoft.com/office/drawing/2014/main" id="{B18B253A-C2DB-2349-909E-9DB4EE5513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766" y="3128872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DAADEFB6-10C9-1847-9389-F07457C019C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45020" y="3971489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412%</a:t>
            </a:r>
          </a:p>
        </p:txBody>
      </p:sp>
      <p:sp>
        <p:nvSpPr>
          <p:cNvPr id="34" name="Текст 34">
            <a:extLst>
              <a:ext uri="{FF2B5EF4-FFF2-40B4-BE49-F238E27FC236}">
                <a16:creationId xmlns:a16="http://schemas.microsoft.com/office/drawing/2014/main" id="{0CDAD404-030A-934A-8851-B3C6383A0BE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45020" y="480703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5" name="Текст 4">
            <a:extLst>
              <a:ext uri="{FF2B5EF4-FFF2-40B4-BE49-F238E27FC236}">
                <a16:creationId xmlns:a16="http://schemas.microsoft.com/office/drawing/2014/main" id="{A223E09C-B85C-654E-95F0-69EDC2B290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75766" y="3971489"/>
            <a:ext cx="2484000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35%</a:t>
            </a:r>
          </a:p>
        </p:txBody>
      </p:sp>
      <p:sp>
        <p:nvSpPr>
          <p:cNvPr id="36" name="Текст 34">
            <a:extLst>
              <a:ext uri="{FF2B5EF4-FFF2-40B4-BE49-F238E27FC236}">
                <a16:creationId xmlns:a16="http://schemas.microsoft.com/office/drawing/2014/main" id="{95021F1D-C872-E641-951C-AEABDAD5D3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75766" y="4807039"/>
            <a:ext cx="2484000" cy="597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16" name="Текст 34">
            <a:extLst>
              <a:ext uri="{FF2B5EF4-FFF2-40B4-BE49-F238E27FC236}">
                <a16:creationId xmlns:a16="http://schemas.microsoft.com/office/drawing/2014/main" id="{04E00712-D90A-3A4F-82CA-46794E17AF9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13" y="2496201"/>
            <a:ext cx="3384000" cy="1110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D9DB7F6-938F-9749-B6D5-9F240B61A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3366029" cy="1601172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21" name="Нижний колонтитул 2">
            <a:extLst>
              <a:ext uri="{FF2B5EF4-FFF2-40B4-BE49-F238E27FC236}">
                <a16:creationId xmlns:a16="http://schemas.microsoft.com/office/drawing/2014/main" id="{3B5EDCCD-9349-5E42-89F0-F5A1AE5D12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9595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фактои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Текст 4">
            <a:extLst>
              <a:ext uri="{FF2B5EF4-FFF2-40B4-BE49-F238E27FC236}">
                <a16:creationId xmlns:a16="http://schemas.microsoft.com/office/drawing/2014/main" id="{F7C4007B-40AC-1540-83F9-30A6118277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2973" y="621775"/>
            <a:ext cx="1764000" cy="806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C27B8AE7-54C9-234E-BAE9-0EFF0EC468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2973" y="143976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1D622398-9BDF-CE47-A04B-4DB3D5B350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95993" y="621775"/>
            <a:ext cx="1764000" cy="806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13D9284D-37D3-C648-9A7F-042D63906E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95993" y="143976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3EC23FA8-1F2B-BE43-A0CD-F5F53EDB40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338" y="621775"/>
            <a:ext cx="1764000" cy="806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25" name="Текст 34">
            <a:extLst>
              <a:ext uri="{FF2B5EF4-FFF2-40B4-BE49-F238E27FC236}">
                <a16:creationId xmlns:a16="http://schemas.microsoft.com/office/drawing/2014/main" id="{0F95475C-D35E-2E43-8C4D-C152B9F39B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45338" y="143976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8" name="Текст 4">
            <a:extLst>
              <a:ext uri="{FF2B5EF4-FFF2-40B4-BE49-F238E27FC236}">
                <a16:creationId xmlns:a16="http://schemas.microsoft.com/office/drawing/2014/main" id="{526E1EC0-5595-DE45-B19D-FD4A0774E9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973" y="2524164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39" name="Текст 34">
            <a:extLst>
              <a:ext uri="{FF2B5EF4-FFF2-40B4-BE49-F238E27FC236}">
                <a16:creationId xmlns:a16="http://schemas.microsoft.com/office/drawing/2014/main" id="{24FA1F76-56BB-524E-8B52-CB0542379B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42973" y="333580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0" name="Текст 4">
            <a:extLst>
              <a:ext uri="{FF2B5EF4-FFF2-40B4-BE49-F238E27FC236}">
                <a16:creationId xmlns:a16="http://schemas.microsoft.com/office/drawing/2014/main" id="{47B63853-5B25-9745-9967-BF249BF6A8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99668" y="2524164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1" name="Текст 34">
            <a:extLst>
              <a:ext uri="{FF2B5EF4-FFF2-40B4-BE49-F238E27FC236}">
                <a16:creationId xmlns:a16="http://schemas.microsoft.com/office/drawing/2014/main" id="{E07865DA-C45F-424D-9846-0143E1BDAA7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99668" y="333580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2" name="Текст 4">
            <a:extLst>
              <a:ext uri="{FF2B5EF4-FFF2-40B4-BE49-F238E27FC236}">
                <a16:creationId xmlns:a16="http://schemas.microsoft.com/office/drawing/2014/main" id="{FC8E81BF-5327-5E4A-A8E7-E0A8B6C1FE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52688" y="2524164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3" name="Текст 34">
            <a:extLst>
              <a:ext uri="{FF2B5EF4-FFF2-40B4-BE49-F238E27FC236}">
                <a16:creationId xmlns:a16="http://schemas.microsoft.com/office/drawing/2014/main" id="{BF75EB22-B195-874B-87C8-6277CE8CC1C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52688" y="3335807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5D302B44-7A78-414C-931E-D858FFF88C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42973" y="4348797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5" name="Текст 34">
            <a:extLst>
              <a:ext uri="{FF2B5EF4-FFF2-40B4-BE49-F238E27FC236}">
                <a16:creationId xmlns:a16="http://schemas.microsoft.com/office/drawing/2014/main" id="{D70533C3-E41E-4646-B1C6-CCAEC1E5DA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42973" y="5157265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6" name="Текст 4">
            <a:extLst>
              <a:ext uri="{FF2B5EF4-FFF2-40B4-BE49-F238E27FC236}">
                <a16:creationId xmlns:a16="http://schemas.microsoft.com/office/drawing/2014/main" id="{FF9CB53E-DCF1-3043-B0BF-067932E126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95993" y="4348797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7" name="Текст 34">
            <a:extLst>
              <a:ext uri="{FF2B5EF4-FFF2-40B4-BE49-F238E27FC236}">
                <a16:creationId xmlns:a16="http://schemas.microsoft.com/office/drawing/2014/main" id="{F3B3C7F7-CD50-0345-B335-68D8AC6A3A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95993" y="5157265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48" name="Текст 4">
            <a:extLst>
              <a:ext uri="{FF2B5EF4-FFF2-40B4-BE49-F238E27FC236}">
                <a16:creationId xmlns:a16="http://schemas.microsoft.com/office/drawing/2014/main" id="{3E773229-A9A5-984A-AF65-8228095701D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45338" y="4348797"/>
            <a:ext cx="1764000" cy="79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00%</a:t>
            </a:r>
          </a:p>
        </p:txBody>
      </p:sp>
      <p:sp>
        <p:nvSpPr>
          <p:cNvPr id="49" name="Текст 34">
            <a:extLst>
              <a:ext uri="{FF2B5EF4-FFF2-40B4-BE49-F238E27FC236}">
                <a16:creationId xmlns:a16="http://schemas.microsoft.com/office/drawing/2014/main" id="{5761D7E3-E47A-D84E-8EC2-47EB98A99FF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45338" y="5157265"/>
            <a:ext cx="1764000" cy="601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9" name="Текст 34">
            <a:extLst>
              <a:ext uri="{FF2B5EF4-FFF2-40B4-BE49-F238E27FC236}">
                <a16:creationId xmlns:a16="http://schemas.microsoft.com/office/drawing/2014/main" id="{FADED89C-B30C-474F-9963-33B2361726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71513" y="2487267"/>
            <a:ext cx="3384000" cy="1110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719B10F6-AC59-6D43-AFFA-CBDD12D09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3366029" cy="1601172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30" name="Нижний колонтитул 2">
            <a:extLst>
              <a:ext uri="{FF2B5EF4-FFF2-40B4-BE49-F238E27FC236}">
                <a16:creationId xmlns:a16="http://schemas.microsoft.com/office/drawing/2014/main" id="{6004F66E-69A1-984B-B186-DF7D3DB86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389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актои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Текст 4">
            <a:extLst>
              <a:ext uri="{FF2B5EF4-FFF2-40B4-BE49-F238E27FC236}">
                <a16:creationId xmlns:a16="http://schemas.microsoft.com/office/drawing/2014/main" id="{8CDA6E9D-D9FE-6440-B66F-B9CA59326A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1513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29" name="Текст 34">
            <a:extLst>
              <a:ext uri="{FF2B5EF4-FFF2-40B4-BE49-F238E27FC236}">
                <a16:creationId xmlns:a16="http://schemas.microsoft.com/office/drawing/2014/main" id="{FE29BD04-EB1C-FA40-94AA-1B4AFCEB28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6E75009D-A8F7-1C44-A515-609AE4B2D62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33450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898%</a:t>
            </a:r>
          </a:p>
        </p:txBody>
      </p:sp>
      <p:sp>
        <p:nvSpPr>
          <p:cNvPr id="31" name="Текст 34">
            <a:extLst>
              <a:ext uri="{FF2B5EF4-FFF2-40B4-BE49-F238E27FC236}">
                <a16:creationId xmlns:a16="http://schemas.microsoft.com/office/drawing/2014/main" id="{21D10D7E-E911-4C44-9BCF-3E4A0D5A61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33450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DF029F45-879C-FF4A-8017-AE7377D48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95388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1431%</a:t>
            </a:r>
          </a:p>
        </p:txBody>
      </p:sp>
      <p:sp>
        <p:nvSpPr>
          <p:cNvPr id="33" name="Текст 34">
            <a:extLst>
              <a:ext uri="{FF2B5EF4-FFF2-40B4-BE49-F238E27FC236}">
                <a16:creationId xmlns:a16="http://schemas.microsoft.com/office/drawing/2014/main" id="{DB228E60-38E7-654A-84CC-EBFEF83E1D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95388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36F11711-DBC8-2247-9A38-4F5A190AB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57326" y="2052229"/>
            <a:ext cx="2575861" cy="76041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479%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:a16="http://schemas.microsoft.com/office/drawing/2014/main" id="{16FD6355-F454-2F4D-8268-578D2E7F8C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57326" y="2947811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36" name="Текст 4">
            <a:extLst>
              <a:ext uri="{FF2B5EF4-FFF2-40B4-BE49-F238E27FC236}">
                <a16:creationId xmlns:a16="http://schemas.microsoft.com/office/drawing/2014/main" id="{8970462A-D5A2-9C42-B351-A822FC8BA1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1513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1817%</a:t>
            </a:r>
          </a:p>
        </p:txBody>
      </p:sp>
      <p:sp>
        <p:nvSpPr>
          <p:cNvPr id="37" name="Текст 34">
            <a:extLst>
              <a:ext uri="{FF2B5EF4-FFF2-40B4-BE49-F238E27FC236}">
                <a16:creationId xmlns:a16="http://schemas.microsoft.com/office/drawing/2014/main" id="{6955A764-C93D-B340-8522-00D99B01C32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1513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51" name="Текст 4">
            <a:extLst>
              <a:ext uri="{FF2B5EF4-FFF2-40B4-BE49-F238E27FC236}">
                <a16:creationId xmlns:a16="http://schemas.microsoft.com/office/drawing/2014/main" id="{3B6F0302-CC80-2440-8C53-216CE749CF2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33450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898%</a:t>
            </a:r>
          </a:p>
        </p:txBody>
      </p:sp>
      <p:sp>
        <p:nvSpPr>
          <p:cNvPr id="52" name="Текст 34">
            <a:extLst>
              <a:ext uri="{FF2B5EF4-FFF2-40B4-BE49-F238E27FC236}">
                <a16:creationId xmlns:a16="http://schemas.microsoft.com/office/drawing/2014/main" id="{BEF6B95A-23EF-3B4F-B6D7-F144CE3857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3450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53" name="Текст 4">
            <a:extLst>
              <a:ext uri="{FF2B5EF4-FFF2-40B4-BE49-F238E27FC236}">
                <a16:creationId xmlns:a16="http://schemas.microsoft.com/office/drawing/2014/main" id="{0D6EDB34-E0E2-FD49-A17E-141D03EDE54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95388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413%</a:t>
            </a:r>
          </a:p>
        </p:txBody>
      </p:sp>
      <p:sp>
        <p:nvSpPr>
          <p:cNvPr id="54" name="Текст 34">
            <a:extLst>
              <a:ext uri="{FF2B5EF4-FFF2-40B4-BE49-F238E27FC236}">
                <a16:creationId xmlns:a16="http://schemas.microsoft.com/office/drawing/2014/main" id="{841A889F-3944-AF4B-8D31-72E5B5402AD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5388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55" name="Текст 4">
            <a:extLst>
              <a:ext uri="{FF2B5EF4-FFF2-40B4-BE49-F238E27FC236}">
                <a16:creationId xmlns:a16="http://schemas.microsoft.com/office/drawing/2014/main" id="{B82E010C-AB8A-E54A-81F5-F69442D512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57326" y="4142061"/>
            <a:ext cx="2575861" cy="7604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sz="5400" dirty="0">
                <a:latin typeface="+mj-lt"/>
              </a:defRPr>
            </a:lvl1pPr>
          </a:lstStyle>
          <a:p>
            <a:pPr lvl="0"/>
            <a:r>
              <a:rPr lang="ru-RU" dirty="0"/>
              <a:t>379%</a:t>
            </a:r>
          </a:p>
        </p:txBody>
      </p:sp>
      <p:sp>
        <p:nvSpPr>
          <p:cNvPr id="56" name="Текст 34">
            <a:extLst>
              <a:ext uri="{FF2B5EF4-FFF2-40B4-BE49-F238E27FC236}">
                <a16:creationId xmlns:a16="http://schemas.microsoft.com/office/drawing/2014/main" id="{71EC8D80-9DDF-EC4E-B15A-A5681C7E03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57326" y="5031926"/>
            <a:ext cx="2575861" cy="628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кратко опишите </a:t>
            </a:r>
            <a:r>
              <a:rPr lang="ru-RU" dirty="0" err="1"/>
              <a:t>фактоиды</a:t>
            </a:r>
            <a:endParaRPr lang="ru-RU" dirty="0"/>
          </a:p>
        </p:txBody>
      </p:sp>
      <p:sp>
        <p:nvSpPr>
          <p:cNvPr id="20" name="Нижний колонтитул 2">
            <a:extLst>
              <a:ext uri="{FF2B5EF4-FFF2-40B4-BE49-F238E27FC236}">
                <a16:creationId xmlns:a16="http://schemas.microsoft.com/office/drawing/2014/main" id="{16461753-2BB8-6C4B-A147-F16A769B0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AA45DE1E-3882-C345-89BF-8E02B93DC6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10868554" cy="628404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2398514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 (android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FDEF092-3208-1845-8672-6D8B3EC712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52707" y="570016"/>
            <a:ext cx="2813039" cy="5889800"/>
          </a:xfrm>
          <a:prstGeom prst="rect">
            <a:avLst/>
          </a:prstGeom>
        </p:spPr>
      </p:pic>
      <p:sp>
        <p:nvSpPr>
          <p:cNvPr id="12" name="Рисунок 4">
            <a:extLst>
              <a:ext uri="{FF2B5EF4-FFF2-40B4-BE49-F238E27FC236}">
                <a16:creationId xmlns:a16="http://schemas.microsoft.com/office/drawing/2014/main" id="{757510CD-0194-C14E-8EFE-FDF2631E143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64500" y="997907"/>
            <a:ext cx="2389452" cy="5034018"/>
          </a:xfrm>
          <a:prstGeom prst="roundRect">
            <a:avLst>
              <a:gd name="adj" fmla="val 10056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D756DDF1-4B12-7D4E-9CB4-D738F4BD4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62393238-E6A9-0541-A387-832EB57F03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1866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8881D350-7885-2A49-83AD-C0BF93F7A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4013626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1 androi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C5FE575-1CEC-D3DB-8FCF-2A1017A19A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131474" y="570016"/>
            <a:ext cx="2813039" cy="58898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DF1A388-F28C-CBC9-E3DA-745F0A8771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6099" y="570016"/>
            <a:ext cx="2813039" cy="5889800"/>
          </a:xfrm>
          <a:prstGeom prst="rect">
            <a:avLst/>
          </a:prstGeom>
        </p:spPr>
      </p:pic>
      <p:sp>
        <p:nvSpPr>
          <p:cNvPr id="22" name="Текст 2">
            <a:extLst>
              <a:ext uri="{FF2B5EF4-FFF2-40B4-BE49-F238E27FC236}">
                <a16:creationId xmlns:a16="http://schemas.microsoft.com/office/drawing/2014/main" id="{5F34DC6A-5E54-8041-A28E-AD14B39696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4763BBA6-94D1-BA4A-8D1A-02CA73327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BD5597EB-DC69-7841-9325-8D5C7BAC0D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3" name="Рисунок 4">
            <a:extLst>
              <a:ext uri="{FF2B5EF4-FFF2-40B4-BE49-F238E27FC236}">
                <a16:creationId xmlns:a16="http://schemas.microsoft.com/office/drawing/2014/main" id="{3E9B0076-EFDA-004B-AE0F-75BF994E6C6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057893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F1EAE615-B5DF-A642-9084-B217F83527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43268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300041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2 android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CA4D7B14-F07A-8745-A80C-B6344E6A1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4767EC2C-75C2-7347-9269-15663A9AEA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0065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2CB7219-B555-C046-81F5-371C3ECB0B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5885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FE8A75EB-5F8C-F34F-8FDF-8B604603E13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469713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60A6DD6F-577C-7843-AA3C-7C4D9C76B82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5088" y="1009595"/>
            <a:ext cx="2389452" cy="5034018"/>
          </a:xfrm>
          <a:prstGeom prst="roundRect">
            <a:avLst>
              <a:gd name="adj" fmla="val 8068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D29120-2C4A-3AEE-254A-63C7FD793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3294" y="570016"/>
            <a:ext cx="2813039" cy="58898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685BD-5225-82DB-3FE9-9F680D9680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257919" y="570016"/>
            <a:ext cx="2813039" cy="588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8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величенный мокап телефона (android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659ABA4-BEDA-DC8C-46EA-19192F8F7D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55501" y="510641"/>
            <a:ext cx="4095037" cy="8573984"/>
          </a:xfrm>
          <a:prstGeom prst="rect">
            <a:avLst/>
          </a:prstGeom>
        </p:spPr>
      </p:pic>
      <p:sp>
        <p:nvSpPr>
          <p:cNvPr id="9" name="Рисунок 4">
            <a:extLst>
              <a:ext uri="{FF2B5EF4-FFF2-40B4-BE49-F238E27FC236}">
                <a16:creationId xmlns:a16="http://schemas.microsoft.com/office/drawing/2014/main" id="{7F8FAB28-A608-E943-968A-FAAF62A246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274309" y="1146777"/>
            <a:ext cx="3457422" cy="7320329"/>
          </a:xfrm>
          <a:prstGeom prst="roundRect">
            <a:avLst>
              <a:gd name="adj" fmla="val 8360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E3305CDD-3491-3E45-90A5-B55EE3D0B4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39EF1891-D6D6-F04E-9AB5-5F34D54328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2448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0F160E23-EAD8-CF42-9487-65FA59B9E1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2448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2691954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C51A2E5D-8155-CE4A-9A24-40E5E88CA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0B6C9A79-C0B8-DB42-946C-3048498DC3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1866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6407DB1-3C0E-1D4A-947D-C629C9F09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78A6953-A4C5-EDD6-8DF4-CEEF513C0B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2421" y="452282"/>
            <a:ext cx="3174791" cy="5991381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C5D3F1D7-0BFB-839D-BCDA-9BE27C07F05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51157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1836557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окап телефон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96C25A9-993E-2497-AA3A-3D7C5F09F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2421" y="452282"/>
            <a:ext cx="3174791" cy="5991381"/>
          </a:xfrm>
          <a:prstGeom prst="rect">
            <a:avLst/>
          </a:prstGeom>
        </p:spPr>
      </p:pic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C51A2E5D-8155-CE4A-9A24-40E5E88CA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0B6C9A79-C0B8-DB42-946C-3048498DC3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1866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6407DB1-3C0E-1D4A-947D-C629C9F09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1866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B2EC8C01-B26B-6A95-3C6A-E20A6AB1D11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51157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4066479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ижний колонтитул 2">
            <a:extLst>
              <a:ext uri="{FF2B5EF4-FFF2-40B4-BE49-F238E27FC236}">
                <a16:creationId xmlns:a16="http://schemas.microsoft.com/office/drawing/2014/main" id="{B3AFF8D2-6DBE-064B-A37D-18C99D167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629F1670-755C-F040-B81C-E9B15CA093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B6C4F553-E9D9-E942-8508-3547C6785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68FECEB-BD79-6CF3-E843-889873C355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05642" y="452282"/>
            <a:ext cx="3174791" cy="5991381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D9A6945D-1682-45DA-6E92-1E2CDA75524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74378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C169910-72D7-B6CD-8A60-A7E02042F0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14156" y="452282"/>
            <a:ext cx="3174791" cy="5991381"/>
          </a:xfrm>
          <a:prstGeom prst="rect">
            <a:avLst/>
          </a:prstGeom>
        </p:spPr>
      </p:pic>
      <p:sp>
        <p:nvSpPr>
          <p:cNvPr id="5" name="Рисунок 4">
            <a:extLst>
              <a:ext uri="{FF2B5EF4-FFF2-40B4-BE49-F238E27FC236}">
                <a16:creationId xmlns:a16="http://schemas.microsoft.com/office/drawing/2014/main" id="{845DA09B-7B08-270D-B6F2-81D499C75E3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2892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1574195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 раздел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7">
            <a:extLst>
              <a:ext uri="{FF2B5EF4-FFF2-40B4-BE49-F238E27FC236}">
                <a16:creationId xmlns:a16="http://schemas.microsoft.com/office/drawing/2014/main" id="{2621BAE2-07D9-514A-9985-E8FEC144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172" y="1079022"/>
            <a:ext cx="4621372" cy="18281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6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892899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окапа телефон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ижний колонтитул 2">
            <a:extLst>
              <a:ext uri="{FF2B5EF4-FFF2-40B4-BE49-F238E27FC236}">
                <a16:creationId xmlns:a16="http://schemas.microsoft.com/office/drawing/2014/main" id="{3AFF00E4-62AD-B540-8679-82A3FC4AA3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C1E585F5-6B22-A141-8748-B6B40246DF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0065" y="2055970"/>
            <a:ext cx="466301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FACED454-C51C-9F42-9261-00A0A8154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5885" y="692150"/>
            <a:ext cx="466301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CBE90DF-6479-0B92-0C62-CBCC4D049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745" y="452282"/>
            <a:ext cx="3174791" cy="5991381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06739DDB-F0CD-8D0A-815E-C7A0A2CF566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2481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0C849C5-F7F7-ACE9-5A87-8EB5BBC22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259" y="452282"/>
            <a:ext cx="3174791" cy="5991381"/>
          </a:xfrm>
          <a:prstGeom prst="rect">
            <a:avLst/>
          </a:prstGeom>
        </p:spPr>
      </p:pic>
      <p:sp>
        <p:nvSpPr>
          <p:cNvPr id="5" name="Рисунок 4">
            <a:extLst>
              <a:ext uri="{FF2B5EF4-FFF2-40B4-BE49-F238E27FC236}">
                <a16:creationId xmlns:a16="http://schemas.microsoft.com/office/drawing/2014/main" id="{2459E0F2-3E58-D029-9859-60D6378A25A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600995" y="814745"/>
            <a:ext cx="2430752" cy="5260770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1187089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величенный мокап телефон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87E48A-D9FF-C15F-3558-AE491B4E85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39500" y="335858"/>
            <a:ext cx="4496788" cy="8486219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8AA3E2CB-F40A-E1B0-DDDD-40B46CEBB44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465328" y="860766"/>
            <a:ext cx="3441003" cy="7447211"/>
          </a:xfrm>
          <a:custGeom>
            <a:avLst/>
            <a:gdLst>
              <a:gd name="connsiteX0" fmla="*/ 470268 w 2430752"/>
              <a:gd name="connsiteY0" fmla="*/ 176 h 5260770"/>
              <a:gd name="connsiteX1" fmla="*/ 565868 w 2430752"/>
              <a:gd name="connsiteY1" fmla="*/ 214 h 5260770"/>
              <a:gd name="connsiteX2" fmla="*/ 591955 w 2430752"/>
              <a:gd name="connsiteY2" fmla="*/ 2298 h 5260770"/>
              <a:gd name="connsiteX3" fmla="*/ 616339 w 2430752"/>
              <a:gd name="connsiteY3" fmla="*/ 23306 h 5260770"/>
              <a:gd name="connsiteX4" fmla="*/ 620696 w 2430752"/>
              <a:gd name="connsiteY4" fmla="*/ 54525 h 5260770"/>
              <a:gd name="connsiteX5" fmla="*/ 649702 w 2430752"/>
              <a:gd name="connsiteY5" fmla="*/ 136060 h 5260770"/>
              <a:gd name="connsiteX6" fmla="*/ 742630 w 2430752"/>
              <a:gd name="connsiteY6" fmla="*/ 181467 h 5260770"/>
              <a:gd name="connsiteX7" fmla="*/ 1699573 w 2430752"/>
              <a:gd name="connsiteY7" fmla="*/ 181941 h 5260770"/>
              <a:gd name="connsiteX8" fmla="*/ 1707132 w 2430752"/>
              <a:gd name="connsiteY8" fmla="*/ 181789 h 5260770"/>
              <a:gd name="connsiteX9" fmla="*/ 1796934 w 2430752"/>
              <a:gd name="connsiteY9" fmla="*/ 114843 h 5260770"/>
              <a:gd name="connsiteX10" fmla="*/ 1813569 w 2430752"/>
              <a:gd name="connsiteY10" fmla="*/ 39295 h 5260770"/>
              <a:gd name="connsiteX11" fmla="*/ 1835924 w 2430752"/>
              <a:gd name="connsiteY11" fmla="*/ 3510 h 5260770"/>
              <a:gd name="connsiteX12" fmla="*/ 1860705 w 2430752"/>
              <a:gd name="connsiteY12" fmla="*/ 290 h 5260770"/>
              <a:gd name="connsiteX13" fmla="*/ 2052491 w 2430752"/>
              <a:gd name="connsiteY13" fmla="*/ 1938 h 5260770"/>
              <a:gd name="connsiteX14" fmla="*/ 2166885 w 2430752"/>
              <a:gd name="connsiteY14" fmla="*/ 7432 h 5260770"/>
              <a:gd name="connsiteX15" fmla="*/ 2260192 w 2430752"/>
              <a:gd name="connsiteY15" fmla="*/ 33328 h 5260770"/>
              <a:gd name="connsiteX16" fmla="*/ 2357913 w 2430752"/>
              <a:gd name="connsiteY16" fmla="*/ 108061 h 5260770"/>
              <a:gd name="connsiteX17" fmla="*/ 2406225 w 2430752"/>
              <a:gd name="connsiteY17" fmla="*/ 191148 h 5260770"/>
              <a:gd name="connsiteX18" fmla="*/ 2428561 w 2430752"/>
              <a:gd name="connsiteY18" fmla="*/ 318847 h 5260770"/>
              <a:gd name="connsiteX19" fmla="*/ 2430627 w 2430752"/>
              <a:gd name="connsiteY19" fmla="*/ 410308 h 5260770"/>
              <a:gd name="connsiteX20" fmla="*/ 2430627 w 2430752"/>
              <a:gd name="connsiteY20" fmla="*/ 3842568 h 5260770"/>
              <a:gd name="connsiteX21" fmla="*/ 2428865 w 2430752"/>
              <a:gd name="connsiteY21" fmla="*/ 4885609 h 5260770"/>
              <a:gd name="connsiteX22" fmla="*/ 2423427 w 2430752"/>
              <a:gd name="connsiteY22" fmla="*/ 4996258 h 5260770"/>
              <a:gd name="connsiteX23" fmla="*/ 2396885 w 2430752"/>
              <a:gd name="connsiteY23" fmla="*/ 5091299 h 5260770"/>
              <a:gd name="connsiteX24" fmla="*/ 2322561 w 2430752"/>
              <a:gd name="connsiteY24" fmla="*/ 5188178 h 5260770"/>
              <a:gd name="connsiteX25" fmla="*/ 2239428 w 2430752"/>
              <a:gd name="connsiteY25" fmla="*/ 5236332 h 5260770"/>
              <a:gd name="connsiteX26" fmla="*/ 2103266 w 2430752"/>
              <a:gd name="connsiteY26" fmla="*/ 5258762 h 5260770"/>
              <a:gd name="connsiteX27" fmla="*/ 2054993 w 2430752"/>
              <a:gd name="connsiteY27" fmla="*/ 5258970 h 5260770"/>
              <a:gd name="connsiteX28" fmla="*/ 2046409 w 2430752"/>
              <a:gd name="connsiteY28" fmla="*/ 5260770 h 5260770"/>
              <a:gd name="connsiteX29" fmla="*/ 384293 w 2430752"/>
              <a:gd name="connsiteY29" fmla="*/ 5260770 h 5260770"/>
              <a:gd name="connsiteX30" fmla="*/ 379499 w 2430752"/>
              <a:gd name="connsiteY30" fmla="*/ 5258970 h 5260770"/>
              <a:gd name="connsiteX31" fmla="*/ 263268 w 2430752"/>
              <a:gd name="connsiteY31" fmla="*/ 5253420 h 5260770"/>
              <a:gd name="connsiteX32" fmla="*/ 170075 w 2430752"/>
              <a:gd name="connsiteY32" fmla="*/ 5227334 h 5260770"/>
              <a:gd name="connsiteX33" fmla="*/ 72486 w 2430752"/>
              <a:gd name="connsiteY33" fmla="*/ 5152525 h 5260770"/>
              <a:gd name="connsiteX34" fmla="*/ 24630 w 2430752"/>
              <a:gd name="connsiteY34" fmla="*/ 5070272 h 5260770"/>
              <a:gd name="connsiteX35" fmla="*/ 2028 w 2430752"/>
              <a:gd name="connsiteY35" fmla="*/ 4934161 h 5260770"/>
              <a:gd name="connsiteX36" fmla="*/ 1819 w 2430752"/>
              <a:gd name="connsiteY36" fmla="*/ 4884945 h 5260770"/>
              <a:gd name="connsiteX37" fmla="*/ 19 w 2430752"/>
              <a:gd name="connsiteY37" fmla="*/ 4876364 h 5260770"/>
              <a:gd name="connsiteX38" fmla="*/ 0 w 2430752"/>
              <a:gd name="connsiteY38" fmla="*/ 4876383 h 5260770"/>
              <a:gd name="connsiteX39" fmla="*/ 0 w 2430752"/>
              <a:gd name="connsiteY39" fmla="*/ 384544 h 5260770"/>
              <a:gd name="connsiteX40" fmla="*/ 1800 w 2430752"/>
              <a:gd name="connsiteY40" fmla="*/ 379770 h 5260770"/>
              <a:gd name="connsiteX41" fmla="*/ 7370 w 2430752"/>
              <a:gd name="connsiteY41" fmla="*/ 263456 h 5260770"/>
              <a:gd name="connsiteX42" fmla="*/ 33931 w 2430752"/>
              <a:gd name="connsiteY42" fmla="*/ 169382 h 5260770"/>
              <a:gd name="connsiteX43" fmla="*/ 107630 w 2430752"/>
              <a:gd name="connsiteY43" fmla="*/ 73204 h 5260770"/>
              <a:gd name="connsiteX44" fmla="*/ 191502 w 2430752"/>
              <a:gd name="connsiteY44" fmla="*/ 24500 h 5260770"/>
              <a:gd name="connsiteX45" fmla="*/ 319196 w 2430752"/>
              <a:gd name="connsiteY45" fmla="*/ 2412 h 5260770"/>
              <a:gd name="connsiteX46" fmla="*/ 470268 w 2430752"/>
              <a:gd name="connsiteY46" fmla="*/ 176 h 526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30752" h="5260770">
                <a:moveTo>
                  <a:pt x="470268" y="176"/>
                </a:moveTo>
                <a:cubicBezTo>
                  <a:pt x="502134" y="-108"/>
                  <a:pt x="534001" y="-13"/>
                  <a:pt x="565868" y="214"/>
                </a:cubicBezTo>
                <a:cubicBezTo>
                  <a:pt x="574583" y="271"/>
                  <a:pt x="583430" y="650"/>
                  <a:pt x="591955" y="2298"/>
                </a:cubicBezTo>
                <a:cubicBezTo>
                  <a:pt x="603739" y="4571"/>
                  <a:pt x="613648" y="10462"/>
                  <a:pt x="616339" y="23306"/>
                </a:cubicBezTo>
                <a:cubicBezTo>
                  <a:pt x="618498" y="33574"/>
                  <a:pt x="620658" y="44107"/>
                  <a:pt x="620696" y="54525"/>
                </a:cubicBezTo>
                <a:cubicBezTo>
                  <a:pt x="620791" y="85290"/>
                  <a:pt x="630510" y="112172"/>
                  <a:pt x="649702" y="136060"/>
                </a:cubicBezTo>
                <a:cubicBezTo>
                  <a:pt x="673649" y="165858"/>
                  <a:pt x="705875" y="181373"/>
                  <a:pt x="742630" y="181467"/>
                </a:cubicBezTo>
                <a:cubicBezTo>
                  <a:pt x="1061617" y="182282"/>
                  <a:pt x="1380585" y="181941"/>
                  <a:pt x="1699573" y="181941"/>
                </a:cubicBezTo>
                <a:cubicBezTo>
                  <a:pt x="1702092" y="181941"/>
                  <a:pt x="1704688" y="182263"/>
                  <a:pt x="1707132" y="181789"/>
                </a:cubicBezTo>
                <a:cubicBezTo>
                  <a:pt x="1747808" y="173928"/>
                  <a:pt x="1777155" y="151176"/>
                  <a:pt x="1796934" y="114843"/>
                </a:cubicBezTo>
                <a:cubicBezTo>
                  <a:pt x="1809874" y="91068"/>
                  <a:pt x="1812432" y="65456"/>
                  <a:pt x="1813569" y="39295"/>
                </a:cubicBezTo>
                <a:cubicBezTo>
                  <a:pt x="1814212" y="24500"/>
                  <a:pt x="1819082" y="7735"/>
                  <a:pt x="1835924" y="3510"/>
                </a:cubicBezTo>
                <a:cubicBezTo>
                  <a:pt x="1843957" y="1502"/>
                  <a:pt x="1852445" y="252"/>
                  <a:pt x="1860705" y="290"/>
                </a:cubicBezTo>
                <a:cubicBezTo>
                  <a:pt x="1924627" y="650"/>
                  <a:pt x="1988569" y="1616"/>
                  <a:pt x="2052491" y="1938"/>
                </a:cubicBezTo>
                <a:cubicBezTo>
                  <a:pt x="2090723" y="2146"/>
                  <a:pt x="2128823" y="2412"/>
                  <a:pt x="2166885" y="7432"/>
                </a:cubicBezTo>
                <a:cubicBezTo>
                  <a:pt x="2199358" y="11713"/>
                  <a:pt x="2230731" y="19215"/>
                  <a:pt x="2260192" y="33328"/>
                </a:cubicBezTo>
                <a:cubicBezTo>
                  <a:pt x="2297875" y="51381"/>
                  <a:pt x="2331389" y="75136"/>
                  <a:pt x="2357913" y="108061"/>
                </a:cubicBezTo>
                <a:cubicBezTo>
                  <a:pt x="2378279" y="133332"/>
                  <a:pt x="2394536" y="160838"/>
                  <a:pt x="2406225" y="191148"/>
                </a:cubicBezTo>
                <a:cubicBezTo>
                  <a:pt x="2422063" y="232274"/>
                  <a:pt x="2425757" y="275561"/>
                  <a:pt x="2428561" y="318847"/>
                </a:cubicBezTo>
                <a:cubicBezTo>
                  <a:pt x="2430532" y="349252"/>
                  <a:pt x="2430627" y="379809"/>
                  <a:pt x="2430627" y="410308"/>
                </a:cubicBezTo>
                <a:cubicBezTo>
                  <a:pt x="2430721" y="1554394"/>
                  <a:pt x="2430854" y="2698481"/>
                  <a:pt x="2430627" y="3842568"/>
                </a:cubicBezTo>
                <a:cubicBezTo>
                  <a:pt x="2430551" y="4190241"/>
                  <a:pt x="2429414" y="4537934"/>
                  <a:pt x="2428865" y="4885609"/>
                </a:cubicBezTo>
                <a:cubicBezTo>
                  <a:pt x="2428808" y="4922587"/>
                  <a:pt x="2428240" y="4959451"/>
                  <a:pt x="2423427" y="4996258"/>
                </a:cubicBezTo>
                <a:cubicBezTo>
                  <a:pt x="2419108" y="5029373"/>
                  <a:pt x="2411378" y="5061217"/>
                  <a:pt x="2396885" y="5091299"/>
                </a:cubicBezTo>
                <a:cubicBezTo>
                  <a:pt x="2378848" y="5128732"/>
                  <a:pt x="2355185" y="5161865"/>
                  <a:pt x="2322561" y="5188178"/>
                </a:cubicBezTo>
                <a:cubicBezTo>
                  <a:pt x="2297306" y="5208523"/>
                  <a:pt x="2269816" y="5224834"/>
                  <a:pt x="2239428" y="5236332"/>
                </a:cubicBezTo>
                <a:cubicBezTo>
                  <a:pt x="2195512" y="5252946"/>
                  <a:pt x="2149474" y="5256470"/>
                  <a:pt x="2103266" y="5258762"/>
                </a:cubicBezTo>
                <a:cubicBezTo>
                  <a:pt x="2087219" y="5259557"/>
                  <a:pt x="2071096" y="5258800"/>
                  <a:pt x="2054993" y="5258970"/>
                </a:cubicBezTo>
                <a:cubicBezTo>
                  <a:pt x="2052131" y="5259009"/>
                  <a:pt x="2049271" y="5260145"/>
                  <a:pt x="2046409" y="5260770"/>
                </a:cubicBezTo>
                <a:lnTo>
                  <a:pt x="384293" y="5260770"/>
                </a:lnTo>
                <a:cubicBezTo>
                  <a:pt x="382701" y="5260145"/>
                  <a:pt x="381091" y="5258951"/>
                  <a:pt x="379499" y="5258970"/>
                </a:cubicBezTo>
                <a:cubicBezTo>
                  <a:pt x="340661" y="5259178"/>
                  <a:pt x="301917" y="5258535"/>
                  <a:pt x="263268" y="5253420"/>
                </a:cubicBezTo>
                <a:cubicBezTo>
                  <a:pt x="230834" y="5249120"/>
                  <a:pt x="199535" y="5241504"/>
                  <a:pt x="170075" y="5227334"/>
                </a:cubicBezTo>
                <a:cubicBezTo>
                  <a:pt x="132411" y="5209205"/>
                  <a:pt x="98972" y="5185412"/>
                  <a:pt x="72486" y="5152525"/>
                </a:cubicBezTo>
                <a:cubicBezTo>
                  <a:pt x="52347" y="5127500"/>
                  <a:pt x="36054" y="5100298"/>
                  <a:pt x="24630" y="5070272"/>
                </a:cubicBezTo>
                <a:cubicBezTo>
                  <a:pt x="7957" y="5026436"/>
                  <a:pt x="4320" y="4980365"/>
                  <a:pt x="2028" y="4934161"/>
                </a:cubicBezTo>
                <a:cubicBezTo>
                  <a:pt x="1213" y="4917794"/>
                  <a:pt x="1989" y="4901351"/>
                  <a:pt x="1819" y="4884945"/>
                </a:cubicBezTo>
                <a:cubicBezTo>
                  <a:pt x="1781" y="4882085"/>
                  <a:pt x="645" y="4879224"/>
                  <a:pt x="19" y="4876364"/>
                </a:cubicBezTo>
                <a:lnTo>
                  <a:pt x="0" y="4876383"/>
                </a:lnTo>
                <a:cubicBezTo>
                  <a:pt x="0" y="3379109"/>
                  <a:pt x="0" y="1881818"/>
                  <a:pt x="0" y="384544"/>
                </a:cubicBezTo>
                <a:cubicBezTo>
                  <a:pt x="625" y="382953"/>
                  <a:pt x="1819" y="381362"/>
                  <a:pt x="1800" y="379770"/>
                </a:cubicBezTo>
                <a:cubicBezTo>
                  <a:pt x="1573" y="340898"/>
                  <a:pt x="2217" y="302120"/>
                  <a:pt x="7370" y="263456"/>
                </a:cubicBezTo>
                <a:cubicBezTo>
                  <a:pt x="11747" y="230703"/>
                  <a:pt x="19495" y="199161"/>
                  <a:pt x="33931" y="169382"/>
                </a:cubicBezTo>
                <a:cubicBezTo>
                  <a:pt x="51930" y="132289"/>
                  <a:pt x="75309" y="99384"/>
                  <a:pt x="107630" y="73204"/>
                </a:cubicBezTo>
                <a:cubicBezTo>
                  <a:pt x="133093" y="52594"/>
                  <a:pt x="160849" y="36264"/>
                  <a:pt x="191502" y="24500"/>
                </a:cubicBezTo>
                <a:cubicBezTo>
                  <a:pt x="232690" y="8682"/>
                  <a:pt x="275924" y="4363"/>
                  <a:pt x="319196" y="2412"/>
                </a:cubicBezTo>
                <a:cubicBezTo>
                  <a:pt x="369497" y="138"/>
                  <a:pt x="419911" y="612"/>
                  <a:pt x="470268" y="176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ru-RU" dirty="0"/>
              <a:t>Рисунок</a:t>
            </a:r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B9873513-A87A-5248-9EE5-22477683A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2888F5E9-30EC-364E-8110-24F16FB93E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55970"/>
            <a:ext cx="5424486" cy="41448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8F56B56D-4B01-084B-A800-36DCED1010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5424486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1334651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криншот (16: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12">
            <a:extLst>
              <a:ext uri="{FF2B5EF4-FFF2-40B4-BE49-F238E27FC236}">
                <a16:creationId xmlns:a16="http://schemas.microsoft.com/office/drawing/2014/main" id="{FD2A22B0-09D2-7D4E-AADD-ED8BB34AC91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671080" y="2083205"/>
            <a:ext cx="5866489" cy="3599614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6C946BF-0D2D-B445-9F9C-2DC7351B94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6900" y="1773238"/>
            <a:ext cx="5868988" cy="309967"/>
          </a:xfrm>
          <a:prstGeom prst="rect">
            <a:avLst/>
          </a:prstGeom>
        </p:spPr>
      </p:pic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66F50713-9831-0B41-9CD2-5CFB1B79BC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546421F3-2599-7248-8343-9198B0A53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177323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D13C7EE6-39CD-7540-8356-4DFD11AD7A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10868554" cy="67945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1364773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скриншо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>
            <a:extLst>
              <a:ext uri="{FF2B5EF4-FFF2-40B4-BE49-F238E27FC236}">
                <a16:creationId xmlns:a16="http://schemas.microsoft.com/office/drawing/2014/main" id="{6B939B2E-B6BB-D04B-8511-1F5FCBD3580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692150"/>
            <a:ext cx="5437187" cy="55086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Объект</a:t>
            </a:r>
          </a:p>
        </p:txBody>
      </p:sp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5D818D37-95CD-A54D-A873-58443763EA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FE5B93B5-05A2-2544-8F22-44097F5E2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0C9B590D-4781-8D49-93CD-C4866F0890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73829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C33ADE9E-ECB7-1F4A-B46F-CAD9E158FD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4" y="167981"/>
            <a:ext cx="4663017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C41E022A-C37A-A847-906F-26B820785F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2008DFEA-A24A-E34D-83B0-932D8C25F8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702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C41E022A-C37A-A847-906F-26B820785F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70171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2008DFEA-A24A-E34D-83B0-932D8C25F8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4351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2423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692151"/>
            <a:ext cx="5437188" cy="4182176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7CF3EB50-A7E7-6C46-A2E6-243B308973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5147214"/>
            <a:ext cx="5449888" cy="3528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800" dirty="0"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Заголовок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4567ABE6-665B-9A42-BA9A-9F11583EB5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5553075"/>
            <a:ext cx="5449888" cy="684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b="0" i="0" dirty="0">
                <a:latin typeface="SF Pro Text Light" pitchFamily="2" charset="0"/>
              </a:defRPr>
            </a:lvl1pPr>
          </a:lstStyle>
          <a:p>
            <a:pPr lvl="0"/>
            <a:r>
              <a:rPr lang="ru-RU" dirty="0"/>
              <a:t>Кратко сформулируйте главную мысль</a:t>
            </a:r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B1EB5948-9BFD-2F46-B73E-B5E2C7775A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7AFCF1EF-72D2-5E40-B289-9BC8691CA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50"/>
            <a:ext cx="4663017" cy="10810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B1C268A2-11C7-314A-802D-ADB67A88E2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4" y="2018599"/>
            <a:ext cx="4649786" cy="4182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7481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круж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>
            <a:extLst>
              <a:ext uri="{FF2B5EF4-FFF2-40B4-BE49-F238E27FC236}">
                <a16:creationId xmlns:a16="http://schemas.microsoft.com/office/drawing/2014/main" id="{F9FB253E-BC12-EF4D-B1C5-E0D144591D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608083" y="1773237"/>
            <a:ext cx="3156225" cy="315622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7FE8B859-2299-5046-96BF-81805B7C8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0350" y="2201188"/>
            <a:ext cx="4891856" cy="10634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Напишите основную мысль</a:t>
            </a:r>
          </a:p>
        </p:txBody>
      </p:sp>
      <p:sp>
        <p:nvSpPr>
          <p:cNvPr id="9" name="Текст 34">
            <a:extLst>
              <a:ext uri="{FF2B5EF4-FFF2-40B4-BE49-F238E27FC236}">
                <a16:creationId xmlns:a16="http://schemas.microsoft.com/office/drawing/2014/main" id="{808739EF-D4B6-B847-B487-DF6967A6EF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37598" y="3441164"/>
            <a:ext cx="4894515" cy="117223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b="0" i="0" dirty="0">
                <a:latin typeface="SF Pro Text Light" pitchFamily="2" charset="0"/>
              </a:defRPr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marL="228600" lvl="1" indent="-228600">
              <a:buClr>
                <a:schemeClr val="tx2"/>
              </a:buClr>
            </a:pPr>
            <a:r>
              <a:rPr lang="ru-RU" dirty="0"/>
              <a:t>Уровень 2</a:t>
            </a: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4850B24A-5604-CA43-BD24-FD32EA3B8A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636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сообще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33">
            <a:extLst>
              <a:ext uri="{FF2B5EF4-FFF2-40B4-BE49-F238E27FC236}">
                <a16:creationId xmlns:a16="http://schemas.microsoft.com/office/drawing/2014/main" id="{BBAF255A-528F-DA45-AF05-D9145BE2537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349730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3" name="Рисунок 34">
            <a:extLst>
              <a:ext uri="{FF2B5EF4-FFF2-40B4-BE49-F238E27FC236}">
                <a16:creationId xmlns:a16="http://schemas.microsoft.com/office/drawing/2014/main" id="{1EDE53BF-9384-3F44-82B0-7B4197259CA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950627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4" name="Рисунок 36">
            <a:extLst>
              <a:ext uri="{FF2B5EF4-FFF2-40B4-BE49-F238E27FC236}">
                <a16:creationId xmlns:a16="http://schemas.microsoft.com/office/drawing/2014/main" id="{F503805D-CC61-4B4D-B49F-78197D7A20C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511197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5" name="Рисунок 37">
            <a:extLst>
              <a:ext uri="{FF2B5EF4-FFF2-40B4-BE49-F238E27FC236}">
                <a16:creationId xmlns:a16="http://schemas.microsoft.com/office/drawing/2014/main" id="{E93B7ABF-4CFB-FA42-9B9B-75CABB82988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112094" y="800100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1" name="Рисунок 33">
            <a:extLst>
              <a:ext uri="{FF2B5EF4-FFF2-40B4-BE49-F238E27FC236}">
                <a16:creationId xmlns:a16="http://schemas.microsoft.com/office/drawing/2014/main" id="{7A427DD4-5B81-304C-919B-55BDBFB3D87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49730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2" name="Рисунок 34">
            <a:extLst>
              <a:ext uri="{FF2B5EF4-FFF2-40B4-BE49-F238E27FC236}">
                <a16:creationId xmlns:a16="http://schemas.microsoft.com/office/drawing/2014/main" id="{03E6AF83-D8AB-454C-B7B3-C87A51861726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950627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3" name="Рисунок 36">
            <a:extLst>
              <a:ext uri="{FF2B5EF4-FFF2-40B4-BE49-F238E27FC236}">
                <a16:creationId xmlns:a16="http://schemas.microsoft.com/office/drawing/2014/main" id="{13680196-7687-714E-8022-5F67BEF30A1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511197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4" name="Рисунок 37">
            <a:extLst>
              <a:ext uri="{FF2B5EF4-FFF2-40B4-BE49-F238E27FC236}">
                <a16:creationId xmlns:a16="http://schemas.microsoft.com/office/drawing/2014/main" id="{53AC095F-4507-4F45-9C37-54381333B0A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0112094" y="2248639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5" name="Рисунок 33">
            <a:extLst>
              <a:ext uri="{FF2B5EF4-FFF2-40B4-BE49-F238E27FC236}">
                <a16:creationId xmlns:a16="http://schemas.microsoft.com/office/drawing/2014/main" id="{59D5525B-D102-F14E-8C3E-AD24F02476E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349730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6" name="Рисунок 34">
            <a:extLst>
              <a:ext uri="{FF2B5EF4-FFF2-40B4-BE49-F238E27FC236}">
                <a16:creationId xmlns:a16="http://schemas.microsoft.com/office/drawing/2014/main" id="{E67FE9E2-B71C-754D-A9E1-AFAF246534D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950627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7" name="Рисунок 36">
            <a:extLst>
              <a:ext uri="{FF2B5EF4-FFF2-40B4-BE49-F238E27FC236}">
                <a16:creationId xmlns:a16="http://schemas.microsoft.com/office/drawing/2014/main" id="{18086737-6CCB-9B45-A255-FAC9F39E7F3E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511197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8" name="Рисунок 37">
            <a:extLst>
              <a:ext uri="{FF2B5EF4-FFF2-40B4-BE49-F238E27FC236}">
                <a16:creationId xmlns:a16="http://schemas.microsoft.com/office/drawing/2014/main" id="{678A69C8-A077-EF40-8F97-585A2980BEA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0112094" y="3697178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69" name="Рисунок 33">
            <a:extLst>
              <a:ext uri="{FF2B5EF4-FFF2-40B4-BE49-F238E27FC236}">
                <a16:creationId xmlns:a16="http://schemas.microsoft.com/office/drawing/2014/main" id="{E51881C8-D566-D84E-B796-2173EC5D1AE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349730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70" name="Рисунок 34">
            <a:extLst>
              <a:ext uri="{FF2B5EF4-FFF2-40B4-BE49-F238E27FC236}">
                <a16:creationId xmlns:a16="http://schemas.microsoft.com/office/drawing/2014/main" id="{0E1B4231-F022-9844-925D-6A061371AEE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950627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71" name="Рисунок 36">
            <a:extLst>
              <a:ext uri="{FF2B5EF4-FFF2-40B4-BE49-F238E27FC236}">
                <a16:creationId xmlns:a16="http://schemas.microsoft.com/office/drawing/2014/main" id="{BD94CEF0-B973-3D41-BB44-21762663155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511197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72" name="Рисунок 37">
            <a:extLst>
              <a:ext uri="{FF2B5EF4-FFF2-40B4-BE49-F238E27FC236}">
                <a16:creationId xmlns:a16="http://schemas.microsoft.com/office/drawing/2014/main" id="{1928F8B3-07EC-A04D-8249-008477FB2A1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0112094" y="5145716"/>
            <a:ext cx="1091571" cy="1091571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F Pro Text Light" pitchFamily="2" charset="0"/>
              </a:defRPr>
            </a:lvl1pPr>
          </a:lstStyle>
          <a:p>
            <a:r>
              <a:rPr lang="ru-RU" dirty="0"/>
              <a:t>Рису-нок</a:t>
            </a:r>
          </a:p>
        </p:txBody>
      </p:sp>
      <p:sp>
        <p:nvSpPr>
          <p:cNvPr id="26" name="Текст 34">
            <a:extLst>
              <a:ext uri="{FF2B5EF4-FFF2-40B4-BE49-F238E27FC236}">
                <a16:creationId xmlns:a16="http://schemas.microsoft.com/office/drawing/2014/main" id="{64CD6D08-F9FF-9A44-A56F-59DCE9DF4A7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1513" y="2550946"/>
            <a:ext cx="3371850" cy="36863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b="0" i="0" dirty="0">
                <a:latin typeface="SF Pro Text Light" pitchFamily="2" charset="0"/>
              </a:defRPr>
            </a:lvl1pPr>
            <a:lvl2pPr>
              <a:defRPr lang="ru-RU" dirty="0"/>
            </a:lvl2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marL="228600" lvl="1" indent="-228600">
              <a:buClr>
                <a:schemeClr val="tx2"/>
              </a:buClr>
            </a:pPr>
            <a:r>
              <a:rPr lang="ru-RU" dirty="0"/>
              <a:t>Уровень 2</a:t>
            </a:r>
          </a:p>
        </p:txBody>
      </p:sp>
      <p:sp>
        <p:nvSpPr>
          <p:cNvPr id="21" name="Нижний колонтитул 2">
            <a:extLst>
              <a:ext uri="{FF2B5EF4-FFF2-40B4-BE49-F238E27FC236}">
                <a16:creationId xmlns:a16="http://schemas.microsoft.com/office/drawing/2014/main" id="{B5BF75A2-2D65-E947-9AA6-564933496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  <p:sp>
        <p:nvSpPr>
          <p:cNvPr id="29" name="Заголовок 2">
            <a:extLst>
              <a:ext uri="{FF2B5EF4-FFF2-40B4-BE49-F238E27FC236}">
                <a16:creationId xmlns:a16="http://schemas.microsoft.com/office/drawing/2014/main" id="{6A07793F-F8F3-7A47-BBDB-26ADE0E1B8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34" y="692149"/>
            <a:ext cx="3366029" cy="1708151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Заголовок – главная мысль слайда </a:t>
            </a:r>
          </a:p>
        </p:txBody>
      </p:sp>
    </p:spTree>
    <p:extLst>
      <p:ext uri="{BB962C8B-B14F-4D97-AF65-F5344CB8AC3E}">
        <p14:creationId xmlns:p14="http://schemas.microsoft.com/office/powerpoint/2010/main" val="424158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26617A05-57B0-D444-8882-A7FCC5FC028A}"/>
              </a:ext>
            </a:extLst>
          </p:cNvPr>
          <p:cNvSpPr txBox="1"/>
          <p:nvPr userDrawn="1"/>
        </p:nvSpPr>
        <p:spPr>
          <a:xfrm>
            <a:off x="3013869" y="-1049149"/>
            <a:ext cx="2058988" cy="4478149"/>
          </a:xfrm>
          <a:prstGeom prst="rect">
            <a:avLst/>
          </a:prstGeom>
          <a:noFill/>
        </p:spPr>
        <p:txBody>
          <a:bodyPr wrap="square" tIns="0" rtlCol="0" anchor="t">
            <a:spAutoFit/>
          </a:bodyPr>
          <a:lstStyle/>
          <a:p>
            <a:r>
              <a:rPr lang="ru-RU" sz="28800" b="1" i="0" dirty="0">
                <a:solidFill>
                  <a:schemeClr val="accent2"/>
                </a:solidFill>
                <a:latin typeface="VK Sans Display DemiBold" pitchFamily="2" charset="0"/>
              </a:rPr>
              <a:t>«</a:t>
            </a:r>
          </a:p>
        </p:txBody>
      </p:sp>
      <p:sp>
        <p:nvSpPr>
          <p:cNvPr id="9" name="Текст 43">
            <a:extLst>
              <a:ext uri="{FF2B5EF4-FFF2-40B4-BE49-F238E27FC236}">
                <a16:creationId xmlns:a16="http://schemas.microsoft.com/office/drawing/2014/main" id="{9BE4D7FE-BCEB-8846-AABB-259936AF80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46702" y="711409"/>
            <a:ext cx="6199186" cy="10618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36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dirty="0"/>
              <a:t>Цитата: </a:t>
            </a:r>
            <a:br>
              <a:rPr lang="ru-RU" dirty="0"/>
            </a:br>
            <a:r>
              <a:rPr lang="ru-RU" dirty="0"/>
              <a:t>ключевая мысль</a:t>
            </a:r>
          </a:p>
        </p:txBody>
      </p:sp>
      <p:sp>
        <p:nvSpPr>
          <p:cNvPr id="11" name="Рисунок 33">
            <a:extLst>
              <a:ext uri="{FF2B5EF4-FFF2-40B4-BE49-F238E27FC236}">
                <a16:creationId xmlns:a16="http://schemas.microsoft.com/office/drawing/2014/main" id="{FBD9F727-FC09-AA44-B9B5-4ECE7511ECA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1513" y="800101"/>
            <a:ext cx="3370771" cy="3371552"/>
          </a:xfrm>
          <a:custGeom>
            <a:avLst/>
            <a:gdLst>
              <a:gd name="connsiteX0" fmla="*/ 434760 w 869520"/>
              <a:gd name="connsiteY0" fmla="*/ 0 h 849060"/>
              <a:gd name="connsiteX1" fmla="*/ 869520 w 869520"/>
              <a:gd name="connsiteY1" fmla="*/ 424530 h 849060"/>
              <a:gd name="connsiteX2" fmla="*/ 434760 w 869520"/>
              <a:gd name="connsiteY2" fmla="*/ 849060 h 849060"/>
              <a:gd name="connsiteX3" fmla="*/ 0 w 869520"/>
              <a:gd name="connsiteY3" fmla="*/ 424530 h 849060"/>
              <a:gd name="connsiteX4" fmla="*/ 434760 w 869520"/>
              <a:gd name="connsiteY4" fmla="*/ 0 h 8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520" h="849060">
                <a:moveTo>
                  <a:pt x="434760" y="0"/>
                </a:moveTo>
                <a:cubicBezTo>
                  <a:pt x="674871" y="0"/>
                  <a:pt x="869520" y="190069"/>
                  <a:pt x="869520" y="424530"/>
                </a:cubicBezTo>
                <a:cubicBezTo>
                  <a:pt x="869520" y="658991"/>
                  <a:pt x="674871" y="849060"/>
                  <a:pt x="434760" y="849060"/>
                </a:cubicBezTo>
                <a:cubicBezTo>
                  <a:pt x="194649" y="849060"/>
                  <a:pt x="0" y="658991"/>
                  <a:pt x="0" y="424530"/>
                </a:cubicBezTo>
                <a:cubicBezTo>
                  <a:pt x="0" y="190069"/>
                  <a:pt x="194649" y="0"/>
                  <a:pt x="43476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Рисунок</a:t>
            </a:r>
          </a:p>
        </p:txBody>
      </p:sp>
      <p:sp>
        <p:nvSpPr>
          <p:cNvPr id="14" name="Name + Surname">
            <a:extLst>
              <a:ext uri="{FF2B5EF4-FFF2-40B4-BE49-F238E27FC236}">
                <a16:creationId xmlns:a16="http://schemas.microsoft.com/office/drawing/2014/main" id="{7F5F4B3E-5E28-5B42-8D95-CC4B33106A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2592" y="4580422"/>
            <a:ext cx="3372026" cy="8882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24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Имя </a:t>
            </a:r>
            <a:br>
              <a:rPr lang="en-US" dirty="0"/>
            </a:br>
            <a:r>
              <a:rPr lang="ru-RU" dirty="0"/>
              <a:t>и фамилия</a:t>
            </a:r>
            <a:endParaRPr lang="en-US" dirty="0"/>
          </a:p>
        </p:txBody>
      </p:sp>
      <p:sp>
        <p:nvSpPr>
          <p:cNvPr id="16" name="Position">
            <a:extLst>
              <a:ext uri="{FF2B5EF4-FFF2-40B4-BE49-F238E27FC236}">
                <a16:creationId xmlns:a16="http://schemas.microsoft.com/office/drawing/2014/main" id="{448EE364-91E2-BC4B-A39F-EDB604B1AD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2592" y="5490168"/>
            <a:ext cx="3370771" cy="7106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algn="ctr">
              <a:defRPr lang="en-US" b="0" i="0" dirty="0">
                <a:latin typeface="SF Pro Text Light" pitchFamily="2" charset="0"/>
              </a:defRPr>
            </a:lvl1pPr>
          </a:lstStyle>
          <a:p>
            <a:pPr lvl="0"/>
            <a:r>
              <a:rPr lang="ru-RU" dirty="0"/>
              <a:t>Название должности</a:t>
            </a:r>
            <a:endParaRPr lang="en-US" dirty="0"/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652868F7-DC0A-7E43-AB22-D7A2C4D81E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6701" y="1983399"/>
            <a:ext cx="6194151" cy="4166098"/>
          </a:xfrm>
          <a:prstGeom prst="rect">
            <a:avLst/>
          </a:prstGeom>
        </p:spPr>
        <p:txBody>
          <a:bodyPr wrap="square" l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latin typeface="SF Pro Text Light" pitchFamily="2" charset="0"/>
              </a:defRPr>
            </a:lvl1pPr>
            <a:lvl2pPr marL="228600" indent="-2286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/>
            </a:lvl3pPr>
          </a:lstStyle>
          <a:p>
            <a:pPr lvl="0"/>
            <a:r>
              <a:rPr lang="ru-RU" dirty="0"/>
              <a:t>Опишите кратко идеи, подтверждающие основную мысль слайда</a:t>
            </a:r>
          </a:p>
          <a:p>
            <a:pPr lvl="1"/>
            <a:r>
              <a:rPr lang="ru-RU" dirty="0"/>
              <a:t>Уровень 2</a:t>
            </a:r>
            <a:endParaRPr lang="en-US" dirty="0"/>
          </a:p>
          <a:p>
            <a:pPr lvl="2"/>
            <a:r>
              <a:rPr lang="ru-RU" dirty="0"/>
              <a:t>Уровень 3</a:t>
            </a:r>
          </a:p>
        </p:txBody>
      </p:sp>
      <p:sp>
        <p:nvSpPr>
          <p:cNvPr id="17" name="Нижний колонтитул 2">
            <a:extLst>
              <a:ext uri="{FF2B5EF4-FFF2-40B4-BE49-F238E27FC236}">
                <a16:creationId xmlns:a16="http://schemas.microsoft.com/office/drawing/2014/main" id="{D07C4804-0BF7-6940-B206-CA538C7CA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mtClean="0"/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7164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theme" Target="../theme/theme2.xml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519E9512-C045-4624-9140-A59DF959B1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479837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7" imgW="454" imgH="456" progId="TCLayout.ActiveDocument.1">
                  <p:embed/>
                </p:oleObj>
              </mc:Choice>
              <mc:Fallback>
                <p:oleObj name="Слайд think-cell" r:id="rId57" imgW="454" imgH="45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31461C-53A4-C943-B21F-B82D3E53D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92150"/>
            <a:ext cx="10855854" cy="6442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A7286A5-4914-6346-846A-58D49D87B4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855852" cy="4464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28" name="Нижний колонтитул 2">
            <a:extLst>
              <a:ext uri="{FF2B5EF4-FFF2-40B4-BE49-F238E27FC236}">
                <a16:creationId xmlns:a16="http://schemas.microsoft.com/office/drawing/2014/main" id="{23CA651D-6B29-DE48-B225-DF53D6B149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2BC83C78-346F-1043-91D6-AAE2CBD50914}"/>
              </a:ext>
            </a:extLst>
          </p:cNvPr>
          <p:cNvGrpSpPr/>
          <p:nvPr userDrawn="1"/>
        </p:nvGrpSpPr>
        <p:grpSpPr>
          <a:xfrm>
            <a:off x="0" y="-114752"/>
            <a:ext cx="12188148" cy="64309"/>
            <a:chOff x="0" y="1773238"/>
            <a:chExt cx="12188148" cy="735184"/>
          </a:xfrm>
        </p:grpSpPr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id="{6323B1F2-748E-D24A-B04D-147E09F7A056}"/>
                </a:ext>
              </a:extLst>
            </p:cNvPr>
            <p:cNvCxnSpPr/>
            <p:nvPr userDrawn="1"/>
          </p:nvCxnSpPr>
          <p:spPr>
            <a:xfrm>
              <a:off x="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1B27122E-E66E-3842-BEE7-8F21E71CCFFA}"/>
                </a:ext>
              </a:extLst>
            </p:cNvPr>
            <p:cNvCxnSpPr/>
            <p:nvPr userDrawn="1"/>
          </p:nvCxnSpPr>
          <p:spPr>
            <a:xfrm>
              <a:off x="67711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2489CB35-5D1A-3449-A3AA-6331ECDE56D7}"/>
                </a:ext>
              </a:extLst>
            </p:cNvPr>
            <p:cNvCxnSpPr/>
            <p:nvPr userDrawn="1"/>
          </p:nvCxnSpPr>
          <p:spPr>
            <a:xfrm>
              <a:off x="135423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E46F3591-5DE8-684F-945B-4B104571763B}"/>
                </a:ext>
              </a:extLst>
            </p:cNvPr>
            <p:cNvCxnSpPr/>
            <p:nvPr userDrawn="1"/>
          </p:nvCxnSpPr>
          <p:spPr>
            <a:xfrm>
              <a:off x="203135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E72CDAF1-40E5-1146-8168-F54EFBC30D1E}"/>
                </a:ext>
              </a:extLst>
            </p:cNvPr>
            <p:cNvCxnSpPr/>
            <p:nvPr userDrawn="1"/>
          </p:nvCxnSpPr>
          <p:spPr>
            <a:xfrm>
              <a:off x="270847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D7A57A1D-1763-3545-AF07-19470F3E50CB}"/>
                </a:ext>
              </a:extLst>
            </p:cNvPr>
            <p:cNvCxnSpPr/>
            <p:nvPr userDrawn="1"/>
          </p:nvCxnSpPr>
          <p:spPr>
            <a:xfrm>
              <a:off x="338559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256465A1-0921-EF43-AA4A-163FB7F2E5DF}"/>
                </a:ext>
              </a:extLst>
            </p:cNvPr>
            <p:cNvCxnSpPr/>
            <p:nvPr userDrawn="1"/>
          </p:nvCxnSpPr>
          <p:spPr>
            <a:xfrm>
              <a:off x="406271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928A59CB-089A-4049-8D48-745F1CD70D00}"/>
                </a:ext>
              </a:extLst>
            </p:cNvPr>
            <p:cNvCxnSpPr/>
            <p:nvPr userDrawn="1"/>
          </p:nvCxnSpPr>
          <p:spPr>
            <a:xfrm>
              <a:off x="473983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BE3986F7-E050-214A-8AAE-9F64D46E6D25}"/>
                </a:ext>
              </a:extLst>
            </p:cNvPr>
            <p:cNvCxnSpPr/>
            <p:nvPr userDrawn="1"/>
          </p:nvCxnSpPr>
          <p:spPr>
            <a:xfrm>
              <a:off x="5416952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5A77F4BA-FB36-E94D-A5E0-1E2C3DDEF2DD}"/>
                </a:ext>
              </a:extLst>
            </p:cNvPr>
            <p:cNvCxnSpPr/>
            <p:nvPr userDrawn="1"/>
          </p:nvCxnSpPr>
          <p:spPr>
            <a:xfrm>
              <a:off x="6094071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CF75EAD3-670B-6741-BD93-7AC35A4C614F}"/>
                </a:ext>
              </a:extLst>
            </p:cNvPr>
            <p:cNvCxnSpPr/>
            <p:nvPr userDrawn="1"/>
          </p:nvCxnSpPr>
          <p:spPr>
            <a:xfrm>
              <a:off x="677119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99F4A77B-3030-4345-9E65-8E7A17D3C9AB}"/>
                </a:ext>
              </a:extLst>
            </p:cNvPr>
            <p:cNvCxnSpPr/>
            <p:nvPr userDrawn="1"/>
          </p:nvCxnSpPr>
          <p:spPr>
            <a:xfrm>
              <a:off x="744830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A4D584FB-B2D1-004D-8FAA-86088F98D1CB}"/>
                </a:ext>
              </a:extLst>
            </p:cNvPr>
            <p:cNvCxnSpPr/>
            <p:nvPr userDrawn="1"/>
          </p:nvCxnSpPr>
          <p:spPr>
            <a:xfrm>
              <a:off x="812542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18491DE6-A85F-F941-9774-470B7A292E66}"/>
                </a:ext>
              </a:extLst>
            </p:cNvPr>
            <p:cNvCxnSpPr/>
            <p:nvPr userDrawn="1"/>
          </p:nvCxnSpPr>
          <p:spPr>
            <a:xfrm>
              <a:off x="880254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F0A37FBE-ED03-9E46-B887-2095E3565220}"/>
                </a:ext>
              </a:extLst>
            </p:cNvPr>
            <p:cNvCxnSpPr/>
            <p:nvPr userDrawn="1"/>
          </p:nvCxnSpPr>
          <p:spPr>
            <a:xfrm>
              <a:off x="947966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3B60AB2F-ECD7-B14B-914B-D1497215BE2D}"/>
                </a:ext>
              </a:extLst>
            </p:cNvPr>
            <p:cNvCxnSpPr/>
            <p:nvPr userDrawn="1"/>
          </p:nvCxnSpPr>
          <p:spPr>
            <a:xfrm>
              <a:off x="1015678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11F86DEA-3BC0-2949-8D21-BC75BF487961}"/>
                </a:ext>
              </a:extLst>
            </p:cNvPr>
            <p:cNvCxnSpPr/>
            <p:nvPr userDrawn="1"/>
          </p:nvCxnSpPr>
          <p:spPr>
            <a:xfrm>
              <a:off x="1083390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3AA5CCF0-AFE9-C845-8FB6-42C61118EB3B}"/>
                </a:ext>
              </a:extLst>
            </p:cNvPr>
            <p:cNvCxnSpPr/>
            <p:nvPr userDrawn="1"/>
          </p:nvCxnSpPr>
          <p:spPr>
            <a:xfrm>
              <a:off x="1151102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2F4CBF35-215D-3141-AE0E-10FCB8EAA38B}"/>
                </a:ext>
              </a:extLst>
            </p:cNvPr>
            <p:cNvCxnSpPr/>
            <p:nvPr userDrawn="1"/>
          </p:nvCxnSpPr>
          <p:spPr>
            <a:xfrm>
              <a:off x="1218814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27827FEF-580D-8D4A-AA52-FBB780D3E8CA}"/>
              </a:ext>
            </a:extLst>
          </p:cNvPr>
          <p:cNvGrpSpPr/>
          <p:nvPr userDrawn="1"/>
        </p:nvGrpSpPr>
        <p:grpSpPr>
          <a:xfrm>
            <a:off x="-3" y="6987088"/>
            <a:ext cx="12188148" cy="64309"/>
            <a:chOff x="0" y="1773238"/>
            <a:chExt cx="12188148" cy="735184"/>
          </a:xfrm>
        </p:grpSpPr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D5720CF8-777D-6D46-943B-8BFBBAC8AC37}"/>
                </a:ext>
              </a:extLst>
            </p:cNvPr>
            <p:cNvCxnSpPr/>
            <p:nvPr userDrawn="1"/>
          </p:nvCxnSpPr>
          <p:spPr>
            <a:xfrm>
              <a:off x="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A751E786-90FC-B84D-A121-52C549CABAD6}"/>
                </a:ext>
              </a:extLst>
            </p:cNvPr>
            <p:cNvCxnSpPr/>
            <p:nvPr userDrawn="1"/>
          </p:nvCxnSpPr>
          <p:spPr>
            <a:xfrm>
              <a:off x="67711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FB098482-3360-BC48-86E2-D82F0ECD18CB}"/>
                </a:ext>
              </a:extLst>
            </p:cNvPr>
            <p:cNvCxnSpPr/>
            <p:nvPr userDrawn="1"/>
          </p:nvCxnSpPr>
          <p:spPr>
            <a:xfrm>
              <a:off x="135423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91C8E324-B663-AE43-AD17-C30372AC1D62}"/>
                </a:ext>
              </a:extLst>
            </p:cNvPr>
            <p:cNvCxnSpPr/>
            <p:nvPr userDrawn="1"/>
          </p:nvCxnSpPr>
          <p:spPr>
            <a:xfrm>
              <a:off x="203135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982BEC6C-68DE-E945-89D7-E542C117AE5E}"/>
                </a:ext>
              </a:extLst>
            </p:cNvPr>
            <p:cNvCxnSpPr/>
            <p:nvPr userDrawn="1"/>
          </p:nvCxnSpPr>
          <p:spPr>
            <a:xfrm>
              <a:off x="270847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3EF568AD-F1F9-804D-9F74-FF357FDDF8E2}"/>
                </a:ext>
              </a:extLst>
            </p:cNvPr>
            <p:cNvCxnSpPr/>
            <p:nvPr userDrawn="1"/>
          </p:nvCxnSpPr>
          <p:spPr>
            <a:xfrm>
              <a:off x="338559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23EA1C8B-0B4C-F54E-A19D-87D78B2BA79F}"/>
                </a:ext>
              </a:extLst>
            </p:cNvPr>
            <p:cNvCxnSpPr/>
            <p:nvPr userDrawn="1"/>
          </p:nvCxnSpPr>
          <p:spPr>
            <a:xfrm>
              <a:off x="406271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A176C27A-B0C3-E348-A8E9-CFF1EDD0691A}"/>
                </a:ext>
              </a:extLst>
            </p:cNvPr>
            <p:cNvCxnSpPr/>
            <p:nvPr userDrawn="1"/>
          </p:nvCxnSpPr>
          <p:spPr>
            <a:xfrm>
              <a:off x="473983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1E950337-5072-114C-BF31-761D28BD0077}"/>
                </a:ext>
              </a:extLst>
            </p:cNvPr>
            <p:cNvCxnSpPr/>
            <p:nvPr userDrawn="1"/>
          </p:nvCxnSpPr>
          <p:spPr>
            <a:xfrm>
              <a:off x="5416952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89CC3246-9DE9-274E-A6C3-F1641B274260}"/>
                </a:ext>
              </a:extLst>
            </p:cNvPr>
            <p:cNvCxnSpPr/>
            <p:nvPr userDrawn="1"/>
          </p:nvCxnSpPr>
          <p:spPr>
            <a:xfrm>
              <a:off x="6094071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D325B007-78F8-3C48-AFAE-566FB0FE44CB}"/>
                </a:ext>
              </a:extLst>
            </p:cNvPr>
            <p:cNvCxnSpPr/>
            <p:nvPr userDrawn="1"/>
          </p:nvCxnSpPr>
          <p:spPr>
            <a:xfrm>
              <a:off x="677119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B1C960B3-AB41-7C49-BF29-7BE107E51B2E}"/>
                </a:ext>
              </a:extLst>
            </p:cNvPr>
            <p:cNvCxnSpPr/>
            <p:nvPr userDrawn="1"/>
          </p:nvCxnSpPr>
          <p:spPr>
            <a:xfrm>
              <a:off x="744830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2C78BCE0-6204-0442-93CA-02D94FDF3F7B}"/>
                </a:ext>
              </a:extLst>
            </p:cNvPr>
            <p:cNvCxnSpPr/>
            <p:nvPr userDrawn="1"/>
          </p:nvCxnSpPr>
          <p:spPr>
            <a:xfrm>
              <a:off x="812542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D1C06090-B6A7-F940-B829-33701FB43C9D}"/>
                </a:ext>
              </a:extLst>
            </p:cNvPr>
            <p:cNvCxnSpPr/>
            <p:nvPr userDrawn="1"/>
          </p:nvCxnSpPr>
          <p:spPr>
            <a:xfrm>
              <a:off x="880254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B0FFD9E0-54D7-5344-9001-BBEC5DAB7860}"/>
                </a:ext>
              </a:extLst>
            </p:cNvPr>
            <p:cNvCxnSpPr/>
            <p:nvPr userDrawn="1"/>
          </p:nvCxnSpPr>
          <p:spPr>
            <a:xfrm>
              <a:off x="947966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01CA738E-8928-9640-A950-3958A54AF720}"/>
                </a:ext>
              </a:extLst>
            </p:cNvPr>
            <p:cNvCxnSpPr/>
            <p:nvPr userDrawn="1"/>
          </p:nvCxnSpPr>
          <p:spPr>
            <a:xfrm>
              <a:off x="1015678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E24B7330-F8F4-7849-9AA8-726A43864042}"/>
                </a:ext>
              </a:extLst>
            </p:cNvPr>
            <p:cNvCxnSpPr/>
            <p:nvPr userDrawn="1"/>
          </p:nvCxnSpPr>
          <p:spPr>
            <a:xfrm>
              <a:off x="1083390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61D65C45-3E19-9342-83DB-D61F067718E5}"/>
                </a:ext>
              </a:extLst>
            </p:cNvPr>
            <p:cNvCxnSpPr/>
            <p:nvPr userDrawn="1"/>
          </p:nvCxnSpPr>
          <p:spPr>
            <a:xfrm>
              <a:off x="1151102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44C52D8E-9B70-CD44-869A-228C63BCF7A3}"/>
                </a:ext>
              </a:extLst>
            </p:cNvPr>
            <p:cNvCxnSpPr/>
            <p:nvPr userDrawn="1"/>
          </p:nvCxnSpPr>
          <p:spPr>
            <a:xfrm>
              <a:off x="1218814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1952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70" r:id="rId3"/>
    <p:sldLayoutId id="2147483766" r:id="rId4"/>
    <p:sldLayoutId id="2147483772" r:id="rId5"/>
    <p:sldLayoutId id="2147483769" r:id="rId6"/>
    <p:sldLayoutId id="2147483773" r:id="rId7"/>
    <p:sldLayoutId id="2147483759" r:id="rId8"/>
    <p:sldLayoutId id="2147483774" r:id="rId9"/>
    <p:sldLayoutId id="2147483756" r:id="rId10"/>
    <p:sldLayoutId id="2147483703" r:id="rId11"/>
    <p:sldLayoutId id="2147483738" r:id="rId12"/>
    <p:sldLayoutId id="2147483762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57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  <p:sldLayoutId id="2147483720" r:id="rId31"/>
    <p:sldLayoutId id="2147483721" r:id="rId32"/>
    <p:sldLayoutId id="2147483722" r:id="rId33"/>
    <p:sldLayoutId id="2147483765" r:id="rId34"/>
    <p:sldLayoutId id="2147483723" r:id="rId35"/>
    <p:sldLayoutId id="2147483724" r:id="rId36"/>
    <p:sldLayoutId id="2147483725" r:id="rId37"/>
    <p:sldLayoutId id="2147483726" r:id="rId38"/>
    <p:sldLayoutId id="2147483727" r:id="rId39"/>
    <p:sldLayoutId id="2147483729" r:id="rId40"/>
    <p:sldLayoutId id="2147483740" r:id="rId41"/>
    <p:sldLayoutId id="2147483730" r:id="rId42"/>
    <p:sldLayoutId id="2147483731" r:id="rId43"/>
    <p:sldLayoutId id="2147483732" r:id="rId44"/>
    <p:sldLayoutId id="2147483735" r:id="rId45"/>
    <p:sldLayoutId id="2147483739" r:id="rId46"/>
    <p:sldLayoutId id="2147483737" r:id="rId47"/>
    <p:sldLayoutId id="2147483775" r:id="rId48"/>
    <p:sldLayoutId id="2147483760" r:id="rId49"/>
    <p:sldLayoutId id="2147483776" r:id="rId50"/>
    <p:sldLayoutId id="2147483761" r:id="rId51"/>
    <p:sldLayoutId id="2147483777" r:id="rId52"/>
    <p:sldLayoutId id="2147483778" r:id="rId53"/>
    <p:sldLayoutId id="2147483779" r:id="rId5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55588" indent="-255588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10000"/>
        </a:lnSpc>
        <a:spcBef>
          <a:spcPts val="500"/>
        </a:spcBef>
        <a:buFont typeface="Системный шрифт, обычный"/>
        <a:buChar char="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pos="415" userDrawn="1">
          <p15:clr>
            <a:srgbClr val="FDE53C"/>
          </p15:clr>
        </p15:guide>
        <p15:guide id="14" pos="7265" userDrawn="1">
          <p15:clr>
            <a:srgbClr val="FDE53C"/>
          </p15:clr>
        </p15:guide>
        <p15:guide id="16" orient="horz" pos="3906" userDrawn="1">
          <p15:clr>
            <a:srgbClr val="FDE53C"/>
          </p15:clr>
        </p15:guide>
        <p15:guide id="17" pos="5110" userDrawn="1">
          <p15:clr>
            <a:srgbClr val="FDE53C"/>
          </p15:clr>
        </p15:guide>
        <p15:guide id="18" pos="2547" userDrawn="1">
          <p15:clr>
            <a:srgbClr val="FDE53C"/>
          </p15:clr>
        </p15:guide>
        <p15:guide id="19" pos="3840" userDrawn="1">
          <p15:clr>
            <a:srgbClr val="FDE53C"/>
          </p15:clr>
        </p15:guide>
        <p15:guide id="22" orient="horz" pos="436" userDrawn="1">
          <p15:clr>
            <a:srgbClr val="FDE53C"/>
          </p15:clr>
        </p15:guide>
        <p15:guide id="23" orient="horz" pos="1117" userDrawn="1">
          <p15:clr>
            <a:srgbClr val="FDE53C"/>
          </p15:clr>
        </p15:guide>
        <p15:guide id="24" pos="2116" userDrawn="1">
          <p15:clr>
            <a:srgbClr val="FDE53C"/>
          </p15:clr>
        </p15:guide>
        <p15:guide id="25" pos="5541" userDrawn="1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31461C-53A4-C943-B21F-B82D3E53D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92150"/>
            <a:ext cx="10855854" cy="6442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A7286A5-4914-6346-846A-58D49D87B4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855852" cy="4464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28" name="Нижний колонтитул 2">
            <a:extLst>
              <a:ext uri="{FF2B5EF4-FFF2-40B4-BE49-F238E27FC236}">
                <a16:creationId xmlns:a16="http://schemas.microsoft.com/office/drawing/2014/main" id="{23CA651D-6B29-DE48-B225-DF53D6B149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513" y="167981"/>
            <a:ext cx="10874375" cy="241437"/>
          </a:xfrm>
          <a:prstGeom prst="rect">
            <a:avLst/>
          </a:prstGeom>
        </p:spPr>
        <p:txBody>
          <a:bodyPr lIns="0"/>
          <a:lstStyle>
            <a:lvl1pPr>
              <a:defRPr lang="ru-RU" sz="1000" dirty="0">
                <a:solidFill>
                  <a:srgbClr val="A6A6A6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ru-RU" dirty="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2BC83C78-346F-1043-91D6-AAE2CBD50914}"/>
              </a:ext>
            </a:extLst>
          </p:cNvPr>
          <p:cNvGrpSpPr/>
          <p:nvPr userDrawn="1"/>
        </p:nvGrpSpPr>
        <p:grpSpPr>
          <a:xfrm>
            <a:off x="0" y="-114752"/>
            <a:ext cx="12188148" cy="64309"/>
            <a:chOff x="0" y="1773238"/>
            <a:chExt cx="12188148" cy="735184"/>
          </a:xfrm>
        </p:grpSpPr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id="{6323B1F2-748E-D24A-B04D-147E09F7A056}"/>
                </a:ext>
              </a:extLst>
            </p:cNvPr>
            <p:cNvCxnSpPr/>
            <p:nvPr userDrawn="1"/>
          </p:nvCxnSpPr>
          <p:spPr>
            <a:xfrm>
              <a:off x="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1B27122E-E66E-3842-BEE7-8F21E71CCFFA}"/>
                </a:ext>
              </a:extLst>
            </p:cNvPr>
            <p:cNvCxnSpPr/>
            <p:nvPr userDrawn="1"/>
          </p:nvCxnSpPr>
          <p:spPr>
            <a:xfrm>
              <a:off x="67711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2489CB35-5D1A-3449-A3AA-6331ECDE56D7}"/>
                </a:ext>
              </a:extLst>
            </p:cNvPr>
            <p:cNvCxnSpPr/>
            <p:nvPr userDrawn="1"/>
          </p:nvCxnSpPr>
          <p:spPr>
            <a:xfrm>
              <a:off x="135423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E46F3591-5DE8-684F-945B-4B104571763B}"/>
                </a:ext>
              </a:extLst>
            </p:cNvPr>
            <p:cNvCxnSpPr/>
            <p:nvPr userDrawn="1"/>
          </p:nvCxnSpPr>
          <p:spPr>
            <a:xfrm>
              <a:off x="203135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E72CDAF1-40E5-1146-8168-F54EFBC30D1E}"/>
                </a:ext>
              </a:extLst>
            </p:cNvPr>
            <p:cNvCxnSpPr/>
            <p:nvPr userDrawn="1"/>
          </p:nvCxnSpPr>
          <p:spPr>
            <a:xfrm>
              <a:off x="270847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D7A57A1D-1763-3545-AF07-19470F3E50CB}"/>
                </a:ext>
              </a:extLst>
            </p:cNvPr>
            <p:cNvCxnSpPr/>
            <p:nvPr userDrawn="1"/>
          </p:nvCxnSpPr>
          <p:spPr>
            <a:xfrm>
              <a:off x="338559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256465A1-0921-EF43-AA4A-163FB7F2E5DF}"/>
                </a:ext>
              </a:extLst>
            </p:cNvPr>
            <p:cNvCxnSpPr/>
            <p:nvPr userDrawn="1"/>
          </p:nvCxnSpPr>
          <p:spPr>
            <a:xfrm>
              <a:off x="406271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928A59CB-089A-4049-8D48-745F1CD70D00}"/>
                </a:ext>
              </a:extLst>
            </p:cNvPr>
            <p:cNvCxnSpPr/>
            <p:nvPr userDrawn="1"/>
          </p:nvCxnSpPr>
          <p:spPr>
            <a:xfrm>
              <a:off x="473983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BE3986F7-E050-214A-8AAE-9F64D46E6D25}"/>
                </a:ext>
              </a:extLst>
            </p:cNvPr>
            <p:cNvCxnSpPr/>
            <p:nvPr userDrawn="1"/>
          </p:nvCxnSpPr>
          <p:spPr>
            <a:xfrm>
              <a:off x="5416952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5A77F4BA-FB36-E94D-A5E0-1E2C3DDEF2DD}"/>
                </a:ext>
              </a:extLst>
            </p:cNvPr>
            <p:cNvCxnSpPr/>
            <p:nvPr userDrawn="1"/>
          </p:nvCxnSpPr>
          <p:spPr>
            <a:xfrm>
              <a:off x="6094071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CF75EAD3-670B-6741-BD93-7AC35A4C614F}"/>
                </a:ext>
              </a:extLst>
            </p:cNvPr>
            <p:cNvCxnSpPr/>
            <p:nvPr userDrawn="1"/>
          </p:nvCxnSpPr>
          <p:spPr>
            <a:xfrm>
              <a:off x="677119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99F4A77B-3030-4345-9E65-8E7A17D3C9AB}"/>
                </a:ext>
              </a:extLst>
            </p:cNvPr>
            <p:cNvCxnSpPr/>
            <p:nvPr userDrawn="1"/>
          </p:nvCxnSpPr>
          <p:spPr>
            <a:xfrm>
              <a:off x="744830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A4D584FB-B2D1-004D-8FAA-86088F98D1CB}"/>
                </a:ext>
              </a:extLst>
            </p:cNvPr>
            <p:cNvCxnSpPr/>
            <p:nvPr userDrawn="1"/>
          </p:nvCxnSpPr>
          <p:spPr>
            <a:xfrm>
              <a:off x="812542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18491DE6-A85F-F941-9774-470B7A292E66}"/>
                </a:ext>
              </a:extLst>
            </p:cNvPr>
            <p:cNvCxnSpPr/>
            <p:nvPr userDrawn="1"/>
          </p:nvCxnSpPr>
          <p:spPr>
            <a:xfrm>
              <a:off x="880254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F0A37FBE-ED03-9E46-B887-2095E3565220}"/>
                </a:ext>
              </a:extLst>
            </p:cNvPr>
            <p:cNvCxnSpPr/>
            <p:nvPr userDrawn="1"/>
          </p:nvCxnSpPr>
          <p:spPr>
            <a:xfrm>
              <a:off x="947966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3B60AB2F-ECD7-B14B-914B-D1497215BE2D}"/>
                </a:ext>
              </a:extLst>
            </p:cNvPr>
            <p:cNvCxnSpPr/>
            <p:nvPr userDrawn="1"/>
          </p:nvCxnSpPr>
          <p:spPr>
            <a:xfrm>
              <a:off x="1015678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11F86DEA-3BC0-2949-8D21-BC75BF487961}"/>
                </a:ext>
              </a:extLst>
            </p:cNvPr>
            <p:cNvCxnSpPr/>
            <p:nvPr userDrawn="1"/>
          </p:nvCxnSpPr>
          <p:spPr>
            <a:xfrm>
              <a:off x="1083390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3AA5CCF0-AFE9-C845-8FB6-42C61118EB3B}"/>
                </a:ext>
              </a:extLst>
            </p:cNvPr>
            <p:cNvCxnSpPr/>
            <p:nvPr userDrawn="1"/>
          </p:nvCxnSpPr>
          <p:spPr>
            <a:xfrm>
              <a:off x="1151102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2F4CBF35-215D-3141-AE0E-10FCB8EAA38B}"/>
                </a:ext>
              </a:extLst>
            </p:cNvPr>
            <p:cNvCxnSpPr/>
            <p:nvPr userDrawn="1"/>
          </p:nvCxnSpPr>
          <p:spPr>
            <a:xfrm>
              <a:off x="1218814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27827FEF-580D-8D4A-AA52-FBB780D3E8CA}"/>
              </a:ext>
            </a:extLst>
          </p:cNvPr>
          <p:cNvGrpSpPr/>
          <p:nvPr userDrawn="1"/>
        </p:nvGrpSpPr>
        <p:grpSpPr>
          <a:xfrm>
            <a:off x="-3" y="6987088"/>
            <a:ext cx="12188148" cy="64309"/>
            <a:chOff x="0" y="1773238"/>
            <a:chExt cx="12188148" cy="735184"/>
          </a:xfrm>
        </p:grpSpPr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D5720CF8-777D-6D46-943B-8BFBBAC8AC37}"/>
                </a:ext>
              </a:extLst>
            </p:cNvPr>
            <p:cNvCxnSpPr/>
            <p:nvPr userDrawn="1"/>
          </p:nvCxnSpPr>
          <p:spPr>
            <a:xfrm>
              <a:off x="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A751E786-90FC-B84D-A121-52C549CABAD6}"/>
                </a:ext>
              </a:extLst>
            </p:cNvPr>
            <p:cNvCxnSpPr/>
            <p:nvPr userDrawn="1"/>
          </p:nvCxnSpPr>
          <p:spPr>
            <a:xfrm>
              <a:off x="67711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FB098482-3360-BC48-86E2-D82F0ECD18CB}"/>
                </a:ext>
              </a:extLst>
            </p:cNvPr>
            <p:cNvCxnSpPr/>
            <p:nvPr userDrawn="1"/>
          </p:nvCxnSpPr>
          <p:spPr>
            <a:xfrm>
              <a:off x="135423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91C8E324-B663-AE43-AD17-C30372AC1D62}"/>
                </a:ext>
              </a:extLst>
            </p:cNvPr>
            <p:cNvCxnSpPr/>
            <p:nvPr userDrawn="1"/>
          </p:nvCxnSpPr>
          <p:spPr>
            <a:xfrm>
              <a:off x="203135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982BEC6C-68DE-E945-89D7-E542C117AE5E}"/>
                </a:ext>
              </a:extLst>
            </p:cNvPr>
            <p:cNvCxnSpPr/>
            <p:nvPr userDrawn="1"/>
          </p:nvCxnSpPr>
          <p:spPr>
            <a:xfrm>
              <a:off x="270847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3EF568AD-F1F9-804D-9F74-FF357FDDF8E2}"/>
                </a:ext>
              </a:extLst>
            </p:cNvPr>
            <p:cNvCxnSpPr/>
            <p:nvPr userDrawn="1"/>
          </p:nvCxnSpPr>
          <p:spPr>
            <a:xfrm>
              <a:off x="338559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23EA1C8B-0B4C-F54E-A19D-87D78B2BA79F}"/>
                </a:ext>
              </a:extLst>
            </p:cNvPr>
            <p:cNvCxnSpPr/>
            <p:nvPr userDrawn="1"/>
          </p:nvCxnSpPr>
          <p:spPr>
            <a:xfrm>
              <a:off x="406271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A176C27A-B0C3-E348-A8E9-CFF1EDD0691A}"/>
                </a:ext>
              </a:extLst>
            </p:cNvPr>
            <p:cNvCxnSpPr/>
            <p:nvPr userDrawn="1"/>
          </p:nvCxnSpPr>
          <p:spPr>
            <a:xfrm>
              <a:off x="473983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1E950337-5072-114C-BF31-761D28BD0077}"/>
                </a:ext>
              </a:extLst>
            </p:cNvPr>
            <p:cNvCxnSpPr/>
            <p:nvPr userDrawn="1"/>
          </p:nvCxnSpPr>
          <p:spPr>
            <a:xfrm>
              <a:off x="5416952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89CC3246-9DE9-274E-A6C3-F1641B274260}"/>
                </a:ext>
              </a:extLst>
            </p:cNvPr>
            <p:cNvCxnSpPr/>
            <p:nvPr userDrawn="1"/>
          </p:nvCxnSpPr>
          <p:spPr>
            <a:xfrm>
              <a:off x="6094071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D325B007-78F8-3C48-AFAE-566FB0FE44CB}"/>
                </a:ext>
              </a:extLst>
            </p:cNvPr>
            <p:cNvCxnSpPr/>
            <p:nvPr userDrawn="1"/>
          </p:nvCxnSpPr>
          <p:spPr>
            <a:xfrm>
              <a:off x="6771190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B1C960B3-AB41-7C49-BF29-7BE107E51B2E}"/>
                </a:ext>
              </a:extLst>
            </p:cNvPr>
            <p:cNvCxnSpPr/>
            <p:nvPr userDrawn="1"/>
          </p:nvCxnSpPr>
          <p:spPr>
            <a:xfrm>
              <a:off x="7448309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2C78BCE0-6204-0442-93CA-02D94FDF3F7B}"/>
                </a:ext>
              </a:extLst>
            </p:cNvPr>
            <p:cNvCxnSpPr/>
            <p:nvPr userDrawn="1"/>
          </p:nvCxnSpPr>
          <p:spPr>
            <a:xfrm>
              <a:off x="812542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D1C06090-B6A7-F940-B829-33701FB43C9D}"/>
                </a:ext>
              </a:extLst>
            </p:cNvPr>
            <p:cNvCxnSpPr/>
            <p:nvPr userDrawn="1"/>
          </p:nvCxnSpPr>
          <p:spPr>
            <a:xfrm>
              <a:off x="8802547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B0FFD9E0-54D7-5344-9001-BBEC5DAB7860}"/>
                </a:ext>
              </a:extLst>
            </p:cNvPr>
            <p:cNvCxnSpPr/>
            <p:nvPr userDrawn="1"/>
          </p:nvCxnSpPr>
          <p:spPr>
            <a:xfrm>
              <a:off x="9479666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01CA738E-8928-9640-A950-3958A54AF720}"/>
                </a:ext>
              </a:extLst>
            </p:cNvPr>
            <p:cNvCxnSpPr/>
            <p:nvPr userDrawn="1"/>
          </p:nvCxnSpPr>
          <p:spPr>
            <a:xfrm>
              <a:off x="10156785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E24B7330-F8F4-7849-9AA8-726A43864042}"/>
                </a:ext>
              </a:extLst>
            </p:cNvPr>
            <p:cNvCxnSpPr/>
            <p:nvPr userDrawn="1"/>
          </p:nvCxnSpPr>
          <p:spPr>
            <a:xfrm>
              <a:off x="10833904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61D65C45-3E19-9342-83DB-D61F067718E5}"/>
                </a:ext>
              </a:extLst>
            </p:cNvPr>
            <p:cNvCxnSpPr/>
            <p:nvPr userDrawn="1"/>
          </p:nvCxnSpPr>
          <p:spPr>
            <a:xfrm>
              <a:off x="11511023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44C52D8E-9B70-CD44-869A-228C63BCF7A3}"/>
                </a:ext>
              </a:extLst>
            </p:cNvPr>
            <p:cNvCxnSpPr/>
            <p:nvPr userDrawn="1"/>
          </p:nvCxnSpPr>
          <p:spPr>
            <a:xfrm>
              <a:off x="12188148" y="1773238"/>
              <a:ext cx="0" cy="7351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82923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6" r:id="rId46"/>
    <p:sldLayoutId id="2147483827" r:id="rId47"/>
    <p:sldLayoutId id="2147483828" r:id="rId48"/>
    <p:sldLayoutId id="2147483829" r:id="rId49"/>
    <p:sldLayoutId id="2147483830" r:id="rId50"/>
    <p:sldLayoutId id="2147483831" r:id="rId51"/>
    <p:sldLayoutId id="2147483832" r:id="rId52"/>
    <p:sldLayoutId id="2147483833" r:id="rId53"/>
    <p:sldLayoutId id="2147483834" r:id="rId54"/>
    <p:sldLayoutId id="2147483835" r:id="rId55"/>
    <p:sldLayoutId id="2147483836" r:id="rId5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55588" indent="-255588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10000"/>
        </a:lnSpc>
        <a:spcBef>
          <a:spcPts val="500"/>
        </a:spcBef>
        <a:buFont typeface="Системный шрифт, обычный"/>
        <a:buChar char="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pos="415">
          <p15:clr>
            <a:srgbClr val="FDE53C"/>
          </p15:clr>
        </p15:guide>
        <p15:guide id="14" pos="7265">
          <p15:clr>
            <a:srgbClr val="FDE53C"/>
          </p15:clr>
        </p15:guide>
        <p15:guide id="16" orient="horz" pos="3906">
          <p15:clr>
            <a:srgbClr val="FDE53C"/>
          </p15:clr>
        </p15:guide>
        <p15:guide id="17" pos="5110">
          <p15:clr>
            <a:srgbClr val="FDE53C"/>
          </p15:clr>
        </p15:guide>
        <p15:guide id="18" pos="2547">
          <p15:clr>
            <a:srgbClr val="FDE53C"/>
          </p15:clr>
        </p15:guide>
        <p15:guide id="19" pos="3840">
          <p15:clr>
            <a:srgbClr val="FDE53C"/>
          </p15:clr>
        </p15:guide>
        <p15:guide id="22" orient="horz" pos="436">
          <p15:clr>
            <a:srgbClr val="FDE53C"/>
          </p15:clr>
        </p15:guide>
        <p15:guide id="23" orient="horz" pos="1117">
          <p15:clr>
            <a:srgbClr val="FDE53C"/>
          </p15:clr>
        </p15:guide>
        <p15:guide id="24" pos="2116">
          <p15:clr>
            <a:srgbClr val="FDE53C"/>
          </p15:clr>
        </p15:guide>
        <p15:guide id="25" pos="554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20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2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3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13" Type="http://schemas.openxmlformats.org/officeDocument/2006/relationships/image" Target="../media/image30.png"/><Relationship Id="rId3" Type="http://schemas.microsoft.com/office/2007/relationships/media" Target="../media/media3.mp4"/><Relationship Id="rId7" Type="http://schemas.openxmlformats.org/officeDocument/2006/relationships/slideLayout" Target="../slideLayouts/slideLayout54.xml"/><Relationship Id="rId12" Type="http://schemas.openxmlformats.org/officeDocument/2006/relationships/image" Target="../media/image29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video" Target="../media/media4.mp4"/><Relationship Id="rId11" Type="http://schemas.openxmlformats.org/officeDocument/2006/relationships/image" Target="../media/image28.svg"/><Relationship Id="rId5" Type="http://schemas.microsoft.com/office/2007/relationships/media" Target="../media/media4.mp4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video" Target="../media/media3.mp4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0857A1-FC72-2C6C-20F7-4AAF492A0E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5200"/>
            <a:ext cx="12193200" cy="68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499670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FA89BB-F6B4-9DA1-E6D5-E9D7E80A6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F918D27-F377-32DD-43D7-F007464F8A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3200" cy="685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250106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FA89BB-F6B4-9DA1-E6D5-E9D7E80A6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A837E9-7B6C-81B3-98D0-B01046FEEC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1322" y="1245985"/>
            <a:ext cx="2516257" cy="5160776"/>
          </a:xfrm>
          <a:prstGeom prst="rect">
            <a:avLst/>
          </a:prstGeom>
        </p:spPr>
      </p:pic>
      <p:pic>
        <p:nvPicPr>
          <p:cNvPr id="2" name="IMG_4823">
            <a:hlinkClick r:id="" action="ppaction://media"/>
            <a:extLst>
              <a:ext uri="{FF2B5EF4-FFF2-40B4-BE49-F238E27FC236}">
                <a16:creationId xmlns:a16="http://schemas.microsoft.com/office/drawing/2014/main" id="{A9DDDBCD-B255-67C7-4F7A-FDF9910DF4E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788349" y="1327164"/>
            <a:ext cx="2298548" cy="4972329"/>
          </a:xfrm>
          <a:prstGeom prst="roundRect">
            <a:avLst>
              <a:gd name="adj" fmla="val 8503"/>
            </a:avLst>
          </a:prstGeom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983A42D0-7CB8-E786-5EF6-AEB73322A4E9}"/>
              </a:ext>
            </a:extLst>
          </p:cNvPr>
          <p:cNvSpPr/>
          <p:nvPr/>
        </p:nvSpPr>
        <p:spPr>
          <a:xfrm>
            <a:off x="9479575" y="1415500"/>
            <a:ext cx="125225" cy="1613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F7A0BF1-0A5F-8BBA-0006-4678F4EC01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-11430"/>
            <a:ext cx="8460245" cy="686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2182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16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FA89BB-F6B4-9DA1-E6D5-E9D7E80A6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FF230A0-BC9C-B40C-3F6E-E1C75FF5ED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3200" cy="6854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63281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FA89BB-F6B4-9DA1-E6D5-E9D7E80A6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9E89D1-5902-42B5-9789-94FB853A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54" imgH="456" progId="TCLayout.ActiveDocument.1">
                  <p:embed/>
                </p:oleObj>
              </mc:Choice>
              <mc:Fallback>
                <p:oleObj name="Слайд think-cell" r:id="rId3" imgW="454" imgH="45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9E89D1-5902-42B5-9789-94FB853A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2B2153D-9195-DC51-2069-0D20CE579E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"/>
            <a:ext cx="12193200" cy="6851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099038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FEAB5-AD9B-0356-F912-FB3819F02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B7FAE0C-6690-49CE-A303-87703A3428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54" imgH="456" progId="TCLayout.ActiveDocument.1">
                  <p:embed/>
                </p:oleObj>
              </mc:Choice>
              <mc:Fallback>
                <p:oleObj name="Слайд think-cell" r:id="rId4" imgW="454" imgH="45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FAE0C-6690-49CE-A303-87703A3428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6F7DB06-17A9-FDBC-9804-ECEB4AD3D7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3200" cy="684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5583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7430-F095-2B6A-2E12-D1978863B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79A6C66-8095-F877-2EE7-BA99C702C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3200" cy="684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57653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1319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A73BED1-67D4-8C71-1AF5-A9F3535DBE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3DAE3F2-E242-B944-DD34-5DCA40A961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3200" cy="684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37842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80F8-6AF3-8F89-10C0-B3C62888D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659C8CD-0C18-14F9-E7A7-F9651C3B51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12193200" cy="6842019"/>
          </a:xfrm>
          <a:prstGeom prst="rect">
            <a:avLst/>
          </a:prstGeom>
        </p:spPr>
      </p:pic>
      <p:pic>
        <p:nvPicPr>
          <p:cNvPr id="43" name="Image 1" descr=" ">
            <a:extLst>
              <a:ext uri="{FF2B5EF4-FFF2-40B4-BE49-F238E27FC236}">
                <a16:creationId xmlns:a16="http://schemas.microsoft.com/office/drawing/2014/main" id="{A2D43C73-7DC3-8BA0-3EDB-0742C62871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0000" y="1835983"/>
            <a:ext cx="1795940" cy="3737559"/>
          </a:xfrm>
          <a:prstGeom prst="rect">
            <a:avLst/>
          </a:prstGeom>
        </p:spPr>
      </p:pic>
      <p:pic>
        <p:nvPicPr>
          <p:cNvPr id="47" name="Tovar_chast_syuzheta">
            <a:hlinkClick r:id="" action="ppaction://media"/>
            <a:extLst>
              <a:ext uri="{FF2B5EF4-FFF2-40B4-BE49-F238E27FC236}">
                <a16:creationId xmlns:a16="http://schemas.microsoft.com/office/drawing/2014/main" id="{A9729821-2D53-992C-DBAD-059A145579B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785920" y="1904731"/>
            <a:ext cx="1658486" cy="3591310"/>
          </a:xfrm>
          <a:prstGeom prst="roundRect">
            <a:avLst>
              <a:gd name="adj" fmla="val 8376"/>
            </a:avLst>
          </a:prstGeom>
        </p:spPr>
      </p:pic>
      <p:pic>
        <p:nvPicPr>
          <p:cNvPr id="46" name="Image 1" descr=" ">
            <a:extLst>
              <a:ext uri="{FF2B5EF4-FFF2-40B4-BE49-F238E27FC236}">
                <a16:creationId xmlns:a16="http://schemas.microsoft.com/office/drawing/2014/main" id="{15A0561E-0409-8401-928C-3139BC8C64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30560" y="1835983"/>
            <a:ext cx="1795940" cy="3737559"/>
          </a:xfrm>
          <a:prstGeom prst="rect">
            <a:avLst/>
          </a:prstGeom>
        </p:spPr>
      </p:pic>
      <p:pic>
        <p:nvPicPr>
          <p:cNvPr id="48" name="Obnovlenny_rekom">
            <a:hlinkClick r:id="" action="ppaction://media"/>
            <a:extLst>
              <a:ext uri="{FF2B5EF4-FFF2-40B4-BE49-F238E27FC236}">
                <a16:creationId xmlns:a16="http://schemas.microsoft.com/office/drawing/2014/main" id="{CA5F52EC-B2B5-5957-FBEE-8F8B656CE666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5293703" y="1913259"/>
            <a:ext cx="1654548" cy="3582782"/>
          </a:xfrm>
          <a:prstGeom prst="roundRect">
            <a:avLst>
              <a:gd name="adj" fmla="val 8112"/>
            </a:avLst>
          </a:prstGeom>
        </p:spPr>
      </p:pic>
      <p:pic>
        <p:nvPicPr>
          <p:cNvPr id="45" name="Image 1" descr=" ">
            <a:extLst>
              <a:ext uri="{FF2B5EF4-FFF2-40B4-BE49-F238E27FC236}">
                <a16:creationId xmlns:a16="http://schemas.microsoft.com/office/drawing/2014/main" id="{E60F4299-1389-E447-76CD-487A884DAF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972641" y="1835983"/>
            <a:ext cx="1795940" cy="3737559"/>
          </a:xfrm>
          <a:prstGeom prst="rect">
            <a:avLst/>
          </a:prstGeom>
        </p:spPr>
      </p:pic>
      <p:pic>
        <p:nvPicPr>
          <p:cNvPr id="54" name="Pokupka_v_paru_klikov">
            <a:hlinkClick r:id="" action="ppaction://media"/>
            <a:extLst>
              <a:ext uri="{FF2B5EF4-FFF2-40B4-BE49-F238E27FC236}">
                <a16:creationId xmlns:a16="http://schemas.microsoft.com/office/drawing/2014/main" id="{1455DB40-9DF7-22CD-B1B9-052B2335FA53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3044175" y="1904731"/>
            <a:ext cx="1658486" cy="3591310"/>
          </a:xfrm>
          <a:prstGeom prst="roundRect">
            <a:avLst>
              <a:gd name="adj" fmla="val 8376"/>
            </a:avLst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5A936D2-EE31-6407-5F67-5E18291F33D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0999" y="5765743"/>
            <a:ext cx="6567487" cy="43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0740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16" fill="hold"/>
                                        <p:tgtEl>
                                          <p:spTgt spid="4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16" fill="hold"/>
                                        <p:tgtEl>
                                          <p:spTgt spid="5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4016" fill="hold"/>
                                        <p:tgtEl>
                                          <p:spTgt spid="4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11" repeatCount="indefinite" fill="hold" display="0">
                  <p:stCondLst>
                    <p:cond delay="indefinite"/>
                  </p:stCondLst>
                </p:cTn>
                <p:tgtEl>
                  <p:spTgt spid="47"/>
                </p:tgtEl>
              </p:cMediaNode>
            </p:video>
            <p:video>
              <p:cMediaNode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54"/>
                </p:tgtEl>
              </p:cMediaNode>
            </p:video>
            <p:video>
              <p:cMediaNode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48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K New Color">
  <a:themeElements>
    <a:clrScheme name="B2B">
      <a:dk1>
        <a:srgbClr val="000000"/>
      </a:dk1>
      <a:lt1>
        <a:srgbClr val="FFFFFF"/>
      </a:lt1>
      <a:dk2>
        <a:srgbClr val="7CEDF8"/>
      </a:dk2>
      <a:lt2>
        <a:srgbClr val="FFFFFF"/>
      </a:lt2>
      <a:accent1>
        <a:srgbClr val="000000"/>
      </a:accent1>
      <a:accent2>
        <a:srgbClr val="00D3E6"/>
      </a:accent2>
      <a:accent3>
        <a:srgbClr val="0077FF"/>
      </a:accent3>
      <a:accent4>
        <a:srgbClr val="FF3885"/>
      </a:accent4>
      <a:accent5>
        <a:srgbClr val="202020"/>
      </a:accent5>
      <a:accent6>
        <a:srgbClr val="F5F5F5"/>
      </a:accent6>
      <a:hlink>
        <a:srgbClr val="0077FF"/>
      </a:hlink>
      <a:folHlink>
        <a:srgbClr val="A538A5"/>
      </a:folHlink>
    </a:clrScheme>
    <a:fontScheme name="VK 2020">
      <a:majorFont>
        <a:latin typeface="VK Sans Display Medium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SF Pro Text Light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36000" rIns="36000" bIns="36000" rtlCol="0">
        <a:spAutoFit/>
      </a:bodyPr>
      <a:lstStyle>
        <a:defPPr algn="l">
          <a:lnSpc>
            <a:spcPct val="110000"/>
          </a:lnSpc>
          <a:spcAft>
            <a:spcPts val="600"/>
          </a:spcAft>
          <a:defRPr dirty="0" smtClean="0"/>
        </a:defPPr>
      </a:lstStyle>
    </a:txDef>
  </a:objectDefaults>
  <a:extraClrSchemeLst/>
  <a:custClrLst>
    <a:custClr name="VK1">
      <a:srgbClr val="397ECC"/>
    </a:custClr>
    <a:custClr name="VK2">
      <a:srgbClr val="EE5C44"/>
    </a:custClr>
    <a:custClr name="VK3">
      <a:srgbClr val="F8C246"/>
    </a:custClr>
    <a:custClr name="VK4">
      <a:srgbClr val="E6457A"/>
    </a:custClr>
    <a:custClr name="VK5">
      <a:srgbClr val="EB4250"/>
    </a:custClr>
    <a:custClr name="VK6">
      <a:srgbClr val="EE5959"/>
    </a:custClr>
    <a:custClr name="VK7">
      <a:srgbClr val="FAEBEB"/>
    </a:custClr>
    <a:custClr name="VK8">
      <a:srgbClr val="52B34B"/>
    </a:custClr>
    <a:custClr name="VK9">
      <a:srgbClr val="65DA65"/>
    </a:custClr>
    <a:custClr name="VK10">
      <a:srgbClr val="63B9BA"/>
    </a:custClr>
    <a:custClr name="VK11">
      <a:srgbClr val="7A3AC0"/>
    </a:custClr>
    <a:custClr name="VK12">
      <a:srgbClr val="A997F9"/>
    </a:custClr>
    <a:custClr name="VK13">
      <a:srgbClr val="F4E7C3"/>
    </a:custClr>
    <a:custClr name="VK14">
      <a:srgbClr val="A99670"/>
    </a:custClr>
  </a:custClrLst>
  <a:extLst>
    <a:ext uri="{05A4C25C-085E-4340-85A3-A5531E510DB2}">
      <thm15:themeFamily xmlns:thm15="http://schemas.microsoft.com/office/thememl/2012/main" name="Template (B2B)" id="{C023207E-D314-4631-963A-B62B081DB7A7}" vid="{BAEA7D2B-3ED8-4406-B9C3-E3EBE8CD7988}"/>
    </a:ext>
  </a:extLst>
</a:theme>
</file>

<file path=ppt/theme/theme2.xml><?xml version="1.0" encoding="utf-8"?>
<a:theme xmlns:a="http://schemas.openxmlformats.org/drawingml/2006/main" name="1_VK New Color">
  <a:themeElements>
    <a:clrScheme name="B2B">
      <a:dk1>
        <a:srgbClr val="000000"/>
      </a:dk1>
      <a:lt1>
        <a:srgbClr val="FFFFFF"/>
      </a:lt1>
      <a:dk2>
        <a:srgbClr val="7CEDF8"/>
      </a:dk2>
      <a:lt2>
        <a:srgbClr val="FFFFFF"/>
      </a:lt2>
      <a:accent1>
        <a:srgbClr val="000000"/>
      </a:accent1>
      <a:accent2>
        <a:srgbClr val="00D3E6"/>
      </a:accent2>
      <a:accent3>
        <a:srgbClr val="0077FF"/>
      </a:accent3>
      <a:accent4>
        <a:srgbClr val="FF3885"/>
      </a:accent4>
      <a:accent5>
        <a:srgbClr val="202020"/>
      </a:accent5>
      <a:accent6>
        <a:srgbClr val="F5F5F5"/>
      </a:accent6>
      <a:hlink>
        <a:srgbClr val="0077FF"/>
      </a:hlink>
      <a:folHlink>
        <a:srgbClr val="A538A5"/>
      </a:folHlink>
    </a:clrScheme>
    <a:fontScheme name="VK 2020">
      <a:majorFont>
        <a:latin typeface="VK Sans Display Medium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SF Pro Text Light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36000" rIns="36000" bIns="36000" rtlCol="0">
        <a:spAutoFit/>
      </a:bodyPr>
      <a:lstStyle>
        <a:defPPr algn="l">
          <a:lnSpc>
            <a:spcPct val="110000"/>
          </a:lnSpc>
          <a:spcAft>
            <a:spcPts val="600"/>
          </a:spcAft>
          <a:defRPr dirty="0" smtClean="0"/>
        </a:defPPr>
      </a:lstStyle>
    </a:txDef>
  </a:objectDefaults>
  <a:extraClrSchemeLst/>
  <a:custClrLst>
    <a:custClr name="VK1">
      <a:srgbClr val="397ECC"/>
    </a:custClr>
    <a:custClr name="VK2">
      <a:srgbClr val="EE5C44"/>
    </a:custClr>
    <a:custClr name="VK3">
      <a:srgbClr val="F8C246"/>
    </a:custClr>
    <a:custClr name="VK4">
      <a:srgbClr val="E6457A"/>
    </a:custClr>
    <a:custClr name="VK5">
      <a:srgbClr val="EB4250"/>
    </a:custClr>
    <a:custClr name="VK6">
      <a:srgbClr val="EE5959"/>
    </a:custClr>
    <a:custClr name="VK7">
      <a:srgbClr val="FAEBEB"/>
    </a:custClr>
    <a:custClr name="VK8">
      <a:srgbClr val="52B34B"/>
    </a:custClr>
    <a:custClr name="VK9">
      <a:srgbClr val="65DA65"/>
    </a:custClr>
    <a:custClr name="VK10">
      <a:srgbClr val="63B9BA"/>
    </a:custClr>
    <a:custClr name="VK11">
      <a:srgbClr val="7A3AC0"/>
    </a:custClr>
    <a:custClr name="VK12">
      <a:srgbClr val="A997F9"/>
    </a:custClr>
    <a:custClr name="VK13">
      <a:srgbClr val="F4E7C3"/>
    </a:custClr>
    <a:custClr name="VK14">
      <a:srgbClr val="A99670"/>
    </a:custClr>
  </a:custClrLst>
  <a:extLst>
    <a:ext uri="{05A4C25C-085E-4340-85A3-A5531E510DB2}">
      <thm15:themeFamily xmlns:thm15="http://schemas.microsoft.com/office/thememl/2012/main" name="Template (B2B) Pptx" id="{1837E720-5D63-4D9D-B5BE-D4A966967E57}" vid="{BAFCB48A-DD5F-4873-AC34-B068BD757F9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Template (B2B)</Template>
  <TotalTime>2688</TotalTime>
  <Words>8</Words>
  <Application>Microsoft Macintosh PowerPoint</Application>
  <PresentationFormat>Широкоэкранный</PresentationFormat>
  <Paragraphs>8</Paragraphs>
  <Slides>9</Slides>
  <Notes>8</Notes>
  <HiddenSlides>0</HiddenSlides>
  <MMClips>4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1" baseType="lpstr">
      <vt:lpstr>Системный шрифт, обычный</vt:lpstr>
      <vt:lpstr>Arial</vt:lpstr>
      <vt:lpstr>Calibri</vt:lpstr>
      <vt:lpstr>Play</vt:lpstr>
      <vt:lpstr>SF Pro Text Light</vt:lpstr>
      <vt:lpstr>TT Commons</vt:lpstr>
      <vt:lpstr>VK Sans Display</vt:lpstr>
      <vt:lpstr>VK Sans Display DemiBold</vt:lpstr>
      <vt:lpstr>VK Sans Display Medium</vt:lpstr>
      <vt:lpstr>VK New Color</vt:lpstr>
      <vt:lpstr>1_VK New Color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льзовательский опыт  как новая валюта бренда</dc:title>
  <dc:creator>Barabanova Yulia</dc:creator>
  <cp:lastModifiedBy>Umed Khamzaev</cp:lastModifiedBy>
  <cp:revision>41</cp:revision>
  <dcterms:created xsi:type="dcterms:W3CDTF">2025-09-25T10:43:44Z</dcterms:created>
  <dcterms:modified xsi:type="dcterms:W3CDTF">2025-10-09T22:55:48Z</dcterms:modified>
</cp:coreProperties>
</file>